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696" r:id="rId6"/>
    <p:sldMasterId id="2147483710" r:id="rId7"/>
  </p:sldMasterIdLst>
  <p:notesMasterIdLst>
    <p:notesMasterId r:id="rId15"/>
  </p:notesMasterIdLst>
  <p:handoutMasterIdLst>
    <p:handoutMasterId r:id="rId16"/>
  </p:handoutMasterIdLst>
  <p:sldIdLst>
    <p:sldId id="3075" r:id="rId8"/>
    <p:sldId id="3234" r:id="rId9"/>
    <p:sldId id="3229" r:id="rId10"/>
    <p:sldId id="3235" r:id="rId11"/>
    <p:sldId id="3226" r:id="rId12"/>
    <p:sldId id="3239" r:id="rId13"/>
    <p:sldId id="3230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AC22D3-9FF4-4A73-B86F-8F17F1724E6A}">
          <p14:sldIdLst>
            <p14:sldId id="3075"/>
            <p14:sldId id="3234"/>
            <p14:sldId id="3229"/>
            <p14:sldId id="3235"/>
            <p14:sldId id="3226"/>
            <p14:sldId id="3239"/>
            <p14:sldId id="323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Tiago" initials="RT" lastIdx="1" clrIdx="0">
    <p:extLst>
      <p:ext uri="{19B8F6BF-5375-455C-9EA6-DF929625EA0E}">
        <p15:presenceInfo xmlns:p15="http://schemas.microsoft.com/office/powerpoint/2012/main" userId="S::tiago.rodrigues@uk.nationalgrid.com::bb4f08b6-fa1b-4acb-8395-29d5b9651b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CE12D"/>
    <a:srgbClr val="2BCF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82BC9F-200E-0000-9AFF-A54D154DCC15}" v="8" dt="2021-04-09T09:26:28.573"/>
    <p1510:client id="{3D32AF26-E094-5E1B-2595-5C151E7F3B0F}" v="36" dt="2021-04-07T10:55:44.892"/>
    <p1510:client id="{4E81BC9F-C06D-0000-B5EA-78D45E5CFDEC}" v="246" dt="2021-04-09T09:24:54.387"/>
    <p1510:client id="{6A933CE2-7D44-4A03-A237-E454BF31EC00}" v="377" dt="2021-04-06T11:30:05.7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yyash, Aciele" userId="S::aciele.ayyash@uk.nationalgrid.com::d3b6e59f-bf78-40c2-9728-97caa8495834" providerId="AD" clId="Web-{4E81BC9F-C06D-0000-B5EA-78D45E5CFDEC}"/>
    <pc:docChg chg="modSld">
      <pc:chgData name="Ayyash, Aciele" userId="S::aciele.ayyash@uk.nationalgrid.com::d3b6e59f-bf78-40c2-9728-97caa8495834" providerId="AD" clId="Web-{4E81BC9F-C06D-0000-B5EA-78D45E5CFDEC}" dt="2021-04-09T09:24:53.606" v="146" actId="20577"/>
      <pc:docMkLst>
        <pc:docMk/>
      </pc:docMkLst>
      <pc:sldChg chg="modSp">
        <pc:chgData name="Ayyash, Aciele" userId="S::aciele.ayyash@uk.nationalgrid.com::d3b6e59f-bf78-40c2-9728-97caa8495834" providerId="AD" clId="Web-{4E81BC9F-C06D-0000-B5EA-78D45E5CFDEC}" dt="2021-04-09T09:14:55.560" v="12" actId="20577"/>
        <pc:sldMkLst>
          <pc:docMk/>
          <pc:sldMk cId="2453587219" sldId="3075"/>
        </pc:sldMkLst>
        <pc:spChg chg="mod">
          <ac:chgData name="Ayyash, Aciele" userId="S::aciele.ayyash@uk.nationalgrid.com::d3b6e59f-bf78-40c2-9728-97caa8495834" providerId="AD" clId="Web-{4E81BC9F-C06D-0000-B5EA-78D45E5CFDEC}" dt="2021-04-09T09:14:55.560" v="12" actId="20577"/>
          <ac:spMkLst>
            <pc:docMk/>
            <pc:sldMk cId="2453587219" sldId="3075"/>
            <ac:spMk id="2" creationId="{1956D6BB-EDB4-42A0-BEC1-DA0950B9A791}"/>
          </ac:spMkLst>
        </pc:spChg>
      </pc:sldChg>
      <pc:sldChg chg="modSp">
        <pc:chgData name="Ayyash, Aciele" userId="S::aciele.ayyash@uk.nationalgrid.com::d3b6e59f-bf78-40c2-9728-97caa8495834" providerId="AD" clId="Web-{4E81BC9F-C06D-0000-B5EA-78D45E5CFDEC}" dt="2021-04-09T09:16:39.781" v="33" actId="20577"/>
        <pc:sldMkLst>
          <pc:docMk/>
          <pc:sldMk cId="125674903" sldId="3226"/>
        </pc:sldMkLst>
        <pc:graphicFrameChg chg="modGraphic">
          <ac:chgData name="Ayyash, Aciele" userId="S::aciele.ayyash@uk.nationalgrid.com::d3b6e59f-bf78-40c2-9728-97caa8495834" providerId="AD" clId="Web-{4E81BC9F-C06D-0000-B5EA-78D45E5CFDEC}" dt="2021-04-09T09:16:39.781" v="33" actId="20577"/>
          <ac:graphicFrameMkLst>
            <pc:docMk/>
            <pc:sldMk cId="125674903" sldId="3226"/>
            <ac:graphicFrameMk id="19" creationId="{638545D7-F494-46AA-BB33-05F57799EC76}"/>
          </ac:graphicFrameMkLst>
        </pc:graphicFrameChg>
      </pc:sldChg>
      <pc:sldChg chg="delSp modSp">
        <pc:chgData name="Ayyash, Aciele" userId="S::aciele.ayyash@uk.nationalgrid.com::d3b6e59f-bf78-40c2-9728-97caa8495834" providerId="AD" clId="Web-{4E81BC9F-C06D-0000-B5EA-78D45E5CFDEC}" dt="2021-04-09T09:15:30.139" v="22" actId="1076"/>
        <pc:sldMkLst>
          <pc:docMk/>
          <pc:sldMk cId="3056277168" sldId="3229"/>
        </pc:sldMkLst>
        <pc:spChg chg="del">
          <ac:chgData name="Ayyash, Aciele" userId="S::aciele.ayyash@uk.nationalgrid.com::d3b6e59f-bf78-40c2-9728-97caa8495834" providerId="AD" clId="Web-{4E81BC9F-C06D-0000-B5EA-78D45E5CFDEC}" dt="2021-04-09T09:15:08.263" v="13"/>
          <ac:spMkLst>
            <pc:docMk/>
            <pc:sldMk cId="3056277168" sldId="3229"/>
            <ac:spMk id="4" creationId="{2C0ECC41-FE60-462F-ADE1-DD8722540465}"/>
          </ac:spMkLst>
        </pc:spChg>
        <pc:picChg chg="mod">
          <ac:chgData name="Ayyash, Aciele" userId="S::aciele.ayyash@uk.nationalgrid.com::d3b6e59f-bf78-40c2-9728-97caa8495834" providerId="AD" clId="Web-{4E81BC9F-C06D-0000-B5EA-78D45E5CFDEC}" dt="2021-04-09T09:15:26.264" v="21" actId="1076"/>
          <ac:picMkLst>
            <pc:docMk/>
            <pc:sldMk cId="3056277168" sldId="3229"/>
            <ac:picMk id="8" creationId="{9D7958A8-1C08-4082-8DE0-1F37B3808804}"/>
          </ac:picMkLst>
        </pc:picChg>
        <pc:picChg chg="mod">
          <ac:chgData name="Ayyash, Aciele" userId="S::aciele.ayyash@uk.nationalgrid.com::d3b6e59f-bf78-40c2-9728-97caa8495834" providerId="AD" clId="Web-{4E81BC9F-C06D-0000-B5EA-78D45E5CFDEC}" dt="2021-04-09T09:15:17.342" v="17" actId="1076"/>
          <ac:picMkLst>
            <pc:docMk/>
            <pc:sldMk cId="3056277168" sldId="3229"/>
            <ac:picMk id="9" creationId="{1BD66964-D8EE-4770-BEBB-532B6C2E577A}"/>
          </ac:picMkLst>
        </pc:picChg>
        <pc:picChg chg="mod">
          <ac:chgData name="Ayyash, Aciele" userId="S::aciele.ayyash@uk.nationalgrid.com::d3b6e59f-bf78-40c2-9728-97caa8495834" providerId="AD" clId="Web-{4E81BC9F-C06D-0000-B5EA-78D45E5CFDEC}" dt="2021-04-09T09:15:30.139" v="22" actId="1076"/>
          <ac:picMkLst>
            <pc:docMk/>
            <pc:sldMk cId="3056277168" sldId="3229"/>
            <ac:picMk id="10" creationId="{FF9C5335-EAEB-4082-AB09-A1477A65835A}"/>
          </ac:picMkLst>
        </pc:picChg>
        <pc:picChg chg="mod">
          <ac:chgData name="Ayyash, Aciele" userId="S::aciele.ayyash@uk.nationalgrid.com::d3b6e59f-bf78-40c2-9728-97caa8495834" providerId="AD" clId="Web-{4E81BC9F-C06D-0000-B5EA-78D45E5CFDEC}" dt="2021-04-09T09:15:19.717" v="18" actId="1076"/>
          <ac:picMkLst>
            <pc:docMk/>
            <pc:sldMk cId="3056277168" sldId="3229"/>
            <ac:picMk id="11" creationId="{F2E6CEDD-FC36-4FF1-886F-E981FEE5680E}"/>
          </ac:picMkLst>
        </pc:picChg>
        <pc:picChg chg="mod">
          <ac:chgData name="Ayyash, Aciele" userId="S::aciele.ayyash@uk.nationalgrid.com::d3b6e59f-bf78-40c2-9728-97caa8495834" providerId="AD" clId="Web-{4E81BC9F-C06D-0000-B5EA-78D45E5CFDEC}" dt="2021-04-09T09:15:22.092" v="19" actId="1076"/>
          <ac:picMkLst>
            <pc:docMk/>
            <pc:sldMk cId="3056277168" sldId="3229"/>
            <ac:picMk id="12" creationId="{359179A6-97A4-4E43-9E3E-4D2620BCA5E6}"/>
          </ac:picMkLst>
        </pc:picChg>
        <pc:picChg chg="mod">
          <ac:chgData name="Ayyash, Aciele" userId="S::aciele.ayyash@uk.nationalgrid.com::d3b6e59f-bf78-40c2-9728-97caa8495834" providerId="AD" clId="Web-{4E81BC9F-C06D-0000-B5EA-78D45E5CFDEC}" dt="2021-04-09T09:15:24.170" v="20" actId="1076"/>
          <ac:picMkLst>
            <pc:docMk/>
            <pc:sldMk cId="3056277168" sldId="3229"/>
            <ac:picMk id="14" creationId="{BBA06A7D-68B6-4F36-8127-6254CA9ACFCD}"/>
          </ac:picMkLst>
        </pc:picChg>
        <pc:picChg chg="mod">
          <ac:chgData name="Ayyash, Aciele" userId="S::aciele.ayyash@uk.nationalgrid.com::d3b6e59f-bf78-40c2-9728-97caa8495834" providerId="AD" clId="Web-{4E81BC9F-C06D-0000-B5EA-78D45E5CFDEC}" dt="2021-04-09T09:15:14.248" v="16" actId="1076"/>
          <ac:picMkLst>
            <pc:docMk/>
            <pc:sldMk cId="3056277168" sldId="3229"/>
            <ac:picMk id="15" creationId="{DDAB8C0B-E91A-48C5-B7A9-5939EFA32506}"/>
          </ac:picMkLst>
        </pc:picChg>
        <pc:picChg chg="mod">
          <ac:chgData name="Ayyash, Aciele" userId="S::aciele.ayyash@uk.nationalgrid.com::d3b6e59f-bf78-40c2-9728-97caa8495834" providerId="AD" clId="Web-{4E81BC9F-C06D-0000-B5EA-78D45E5CFDEC}" dt="2021-04-09T09:15:12.607" v="15" actId="1076"/>
          <ac:picMkLst>
            <pc:docMk/>
            <pc:sldMk cId="3056277168" sldId="3229"/>
            <ac:picMk id="16" creationId="{87C02FCD-44BF-4D72-AE63-537BC9101AA9}"/>
          </ac:picMkLst>
        </pc:picChg>
      </pc:sldChg>
      <pc:sldChg chg="modSp">
        <pc:chgData name="Ayyash, Aciele" userId="S::aciele.ayyash@uk.nationalgrid.com::d3b6e59f-bf78-40c2-9728-97caa8495834" providerId="AD" clId="Web-{4E81BC9F-C06D-0000-B5EA-78D45E5CFDEC}" dt="2021-04-09T09:24:53.606" v="146" actId="20577"/>
        <pc:sldMkLst>
          <pc:docMk/>
          <pc:sldMk cId="3877790536" sldId="3235"/>
        </pc:sldMkLst>
        <pc:spChg chg="mod">
          <ac:chgData name="Ayyash, Aciele" userId="S::aciele.ayyash@uk.nationalgrid.com::d3b6e59f-bf78-40c2-9728-97caa8495834" providerId="AD" clId="Web-{4E81BC9F-C06D-0000-B5EA-78D45E5CFDEC}" dt="2021-04-09T09:24:53.606" v="146" actId="20577"/>
          <ac:spMkLst>
            <pc:docMk/>
            <pc:sldMk cId="3877790536" sldId="3235"/>
            <ac:spMk id="2" creationId="{8E1881CB-A902-411A-BF02-1E8BA8651FDE}"/>
          </ac:spMkLst>
        </pc:spChg>
        <pc:spChg chg="mod">
          <ac:chgData name="Ayyash, Aciele" userId="S::aciele.ayyash@uk.nationalgrid.com::d3b6e59f-bf78-40c2-9728-97caa8495834" providerId="AD" clId="Web-{4E81BC9F-C06D-0000-B5EA-78D45E5CFDEC}" dt="2021-04-09T09:23:32.744" v="141" actId="20577"/>
          <ac:spMkLst>
            <pc:docMk/>
            <pc:sldMk cId="3877790536" sldId="3235"/>
            <ac:spMk id="3" creationId="{66EEE907-2FAE-4971-87D4-B653E3E37229}"/>
          </ac:spMkLst>
        </pc:spChg>
      </pc:sldChg>
      <pc:sldChg chg="modSp">
        <pc:chgData name="Ayyash, Aciele" userId="S::aciele.ayyash@uk.nationalgrid.com::d3b6e59f-bf78-40c2-9728-97caa8495834" providerId="AD" clId="Web-{4E81BC9F-C06D-0000-B5EA-78D45E5CFDEC}" dt="2021-04-09T09:21:46.945" v="140" actId="14100"/>
        <pc:sldMkLst>
          <pc:docMk/>
          <pc:sldMk cId="2086314296" sldId="3239"/>
        </pc:sldMkLst>
        <pc:spChg chg="mod">
          <ac:chgData name="Ayyash, Aciele" userId="S::aciele.ayyash@uk.nationalgrid.com::d3b6e59f-bf78-40c2-9728-97caa8495834" providerId="AD" clId="Web-{4E81BC9F-C06D-0000-B5EA-78D45E5CFDEC}" dt="2021-04-09T09:21:46.945" v="140" actId="14100"/>
          <ac:spMkLst>
            <pc:docMk/>
            <pc:sldMk cId="2086314296" sldId="3239"/>
            <ac:spMk id="2" creationId="{27E7807D-B589-486A-8460-E012ADD16CD0}"/>
          </ac:spMkLst>
        </pc:spChg>
      </pc:sldChg>
    </pc:docChg>
  </pc:docChgLst>
  <pc:docChgLst>
    <pc:chgData name="Ayyash, Aciele" userId="S::aciele.ayyash@uk.nationalgrid.com::d3b6e59f-bf78-40c2-9728-97caa8495834" providerId="AD" clId="Web-{0382BC9F-200E-0000-9AFF-A54D154DCC15}"/>
    <pc:docChg chg="modSld">
      <pc:chgData name="Ayyash, Aciele" userId="S::aciele.ayyash@uk.nationalgrid.com::d3b6e59f-bf78-40c2-9728-97caa8495834" providerId="AD" clId="Web-{0382BC9F-200E-0000-9AFF-A54D154DCC15}" dt="2021-04-09T09:26:27.573" v="1" actId="20577"/>
      <pc:docMkLst>
        <pc:docMk/>
      </pc:docMkLst>
      <pc:sldChg chg="modSp">
        <pc:chgData name="Ayyash, Aciele" userId="S::aciele.ayyash@uk.nationalgrid.com::d3b6e59f-bf78-40c2-9728-97caa8495834" providerId="AD" clId="Web-{0382BC9F-200E-0000-9AFF-A54D154DCC15}" dt="2021-04-09T09:26:27.573" v="1" actId="20577"/>
        <pc:sldMkLst>
          <pc:docMk/>
          <pc:sldMk cId="3877790536" sldId="3235"/>
        </pc:sldMkLst>
        <pc:spChg chg="mod">
          <ac:chgData name="Ayyash, Aciele" userId="S::aciele.ayyash@uk.nationalgrid.com::d3b6e59f-bf78-40c2-9728-97caa8495834" providerId="AD" clId="Web-{0382BC9F-200E-0000-9AFF-A54D154DCC15}" dt="2021-04-09T09:26:27.573" v="1" actId="20577"/>
          <ac:spMkLst>
            <pc:docMk/>
            <pc:sldMk cId="3877790536" sldId="3235"/>
            <ac:spMk id="2" creationId="{8E1881CB-A902-411A-BF02-1E8BA8651FDE}"/>
          </ac:spMkLst>
        </pc:spChg>
      </pc:sldChg>
    </pc:docChg>
  </pc:docChgLst>
  <pc:docChgLst>
    <pc:chgData name="Ayyash, Aciele" userId="d3b6e59f-bf78-40c2-9728-97caa8495834" providerId="ADAL" clId="{6A933CE2-7D44-4A03-A237-E454BF31EC00}"/>
    <pc:docChg chg="undo custSel addSld delSld modSld sldOrd modSection">
      <pc:chgData name="Ayyash, Aciele" userId="d3b6e59f-bf78-40c2-9728-97caa8495834" providerId="ADAL" clId="{6A933CE2-7D44-4A03-A237-E454BF31EC00}" dt="2021-04-06T11:31:35.290" v="2831" actId="1076"/>
      <pc:docMkLst>
        <pc:docMk/>
      </pc:docMkLst>
      <pc:sldChg chg="del">
        <pc:chgData name="Ayyash, Aciele" userId="d3b6e59f-bf78-40c2-9728-97caa8495834" providerId="ADAL" clId="{6A933CE2-7D44-4A03-A237-E454BF31EC00}" dt="2021-04-06T09:42:19.122" v="650" actId="2696"/>
        <pc:sldMkLst>
          <pc:docMk/>
          <pc:sldMk cId="1356290414" sldId="639"/>
        </pc:sldMkLst>
      </pc:sldChg>
      <pc:sldChg chg="modSp del">
        <pc:chgData name="Ayyash, Aciele" userId="d3b6e59f-bf78-40c2-9728-97caa8495834" providerId="ADAL" clId="{6A933CE2-7D44-4A03-A237-E454BF31EC00}" dt="2021-04-06T11:29:16.373" v="2670" actId="2696"/>
        <pc:sldMkLst>
          <pc:docMk/>
          <pc:sldMk cId="2767096132" sldId="655"/>
        </pc:sldMkLst>
        <pc:spChg chg="mod">
          <ac:chgData name="Ayyash, Aciele" userId="d3b6e59f-bf78-40c2-9728-97caa8495834" providerId="ADAL" clId="{6A933CE2-7D44-4A03-A237-E454BF31EC00}" dt="2021-04-06T09:35:33.293" v="203" actId="6549"/>
          <ac:spMkLst>
            <pc:docMk/>
            <pc:sldMk cId="2767096132" sldId="655"/>
            <ac:spMk id="2" creationId="{B77E1F0D-50BD-4F21-BB5E-97F45377F13A}"/>
          </ac:spMkLst>
        </pc:spChg>
        <pc:spChg chg="mod">
          <ac:chgData name="Ayyash, Aciele" userId="d3b6e59f-bf78-40c2-9728-97caa8495834" providerId="ADAL" clId="{6A933CE2-7D44-4A03-A237-E454BF31EC00}" dt="2021-04-06T09:35:32.751" v="181" actId="20577"/>
          <ac:spMkLst>
            <pc:docMk/>
            <pc:sldMk cId="2767096132" sldId="655"/>
            <ac:spMk id="12" creationId="{00000000-0000-0000-0000-000000000000}"/>
          </ac:spMkLst>
        </pc:spChg>
        <pc:graphicFrameChg chg="mod">
          <ac:chgData name="Ayyash, Aciele" userId="d3b6e59f-bf78-40c2-9728-97caa8495834" providerId="ADAL" clId="{6A933CE2-7D44-4A03-A237-E454BF31EC00}" dt="2021-04-06T09:35:33.299" v="205"/>
          <ac:graphicFrameMkLst>
            <pc:docMk/>
            <pc:sldMk cId="2767096132" sldId="655"/>
            <ac:graphicFrameMk id="3" creationId="{BF21C17E-C434-4FFC-A927-6579A19F9BD2}"/>
          </ac:graphicFrameMkLst>
        </pc:graphicFrameChg>
      </pc:sldChg>
      <pc:sldChg chg="modSp ord">
        <pc:chgData name="Ayyash, Aciele" userId="d3b6e59f-bf78-40c2-9728-97caa8495834" providerId="ADAL" clId="{6A933CE2-7D44-4A03-A237-E454BF31EC00}" dt="2021-04-06T11:29:38.717" v="2765"/>
        <pc:sldMkLst>
          <pc:docMk/>
          <pc:sldMk cId="2453587219" sldId="3075"/>
        </pc:sldMkLst>
        <pc:spChg chg="mod">
          <ac:chgData name="Ayyash, Aciele" userId="d3b6e59f-bf78-40c2-9728-97caa8495834" providerId="ADAL" clId="{6A933CE2-7D44-4A03-A237-E454BF31EC00}" dt="2021-04-06T11:29:38.204" v="2763" actId="20577"/>
          <ac:spMkLst>
            <pc:docMk/>
            <pc:sldMk cId="2453587219" sldId="3075"/>
            <ac:spMk id="2" creationId="{1956D6BB-EDB4-42A0-BEC1-DA0950B9A791}"/>
          </ac:spMkLst>
        </pc:spChg>
        <pc:spChg chg="mod">
          <ac:chgData name="Ayyash, Aciele" userId="d3b6e59f-bf78-40c2-9728-97caa8495834" providerId="ADAL" clId="{6A933CE2-7D44-4A03-A237-E454BF31EC00}" dt="2021-04-06T11:29:26.107" v="2716" actId="6549"/>
          <ac:spMkLst>
            <pc:docMk/>
            <pc:sldMk cId="2453587219" sldId="3075"/>
            <ac:spMk id="4" creationId="{A4CC6450-6411-438B-A559-BB17A417FBC0}"/>
          </ac:spMkLst>
        </pc:spChg>
        <pc:graphicFrameChg chg="mod">
          <ac:chgData name="Ayyash, Aciele" userId="d3b6e59f-bf78-40c2-9728-97caa8495834" providerId="ADAL" clId="{6A933CE2-7D44-4A03-A237-E454BF31EC00}" dt="2021-04-06T11:29:38.717" v="2765"/>
          <ac:graphicFrameMkLst>
            <pc:docMk/>
            <pc:sldMk cId="2453587219" sldId="3075"/>
            <ac:graphicFrameMk id="5" creationId="{D941599E-A645-43DD-AEC0-8DBE70F88F3B}"/>
          </ac:graphicFrameMkLst>
        </pc:graphicFrameChg>
      </pc:sldChg>
      <pc:sldChg chg="del">
        <pc:chgData name="Ayyash, Aciele" userId="d3b6e59f-bf78-40c2-9728-97caa8495834" providerId="ADAL" clId="{6A933CE2-7D44-4A03-A237-E454BF31EC00}" dt="2021-04-06T09:34:45.956" v="0" actId="2696"/>
        <pc:sldMkLst>
          <pc:docMk/>
          <pc:sldMk cId="3069162921" sldId="3220"/>
        </pc:sldMkLst>
      </pc:sldChg>
      <pc:sldChg chg="del">
        <pc:chgData name="Ayyash, Aciele" userId="d3b6e59f-bf78-40c2-9728-97caa8495834" providerId="ADAL" clId="{6A933CE2-7D44-4A03-A237-E454BF31EC00}" dt="2021-04-06T11:28:57.379" v="2664" actId="2696"/>
        <pc:sldMkLst>
          <pc:docMk/>
          <pc:sldMk cId="1862381017" sldId="3222"/>
        </pc:sldMkLst>
      </pc:sldChg>
      <pc:sldChg chg="del">
        <pc:chgData name="Ayyash, Aciele" userId="d3b6e59f-bf78-40c2-9728-97caa8495834" providerId="ADAL" clId="{6A933CE2-7D44-4A03-A237-E454BF31EC00}" dt="2021-04-06T11:28:59.454" v="2665" actId="2696"/>
        <pc:sldMkLst>
          <pc:docMk/>
          <pc:sldMk cId="3143549387" sldId="3223"/>
        </pc:sldMkLst>
      </pc:sldChg>
      <pc:sldChg chg="del">
        <pc:chgData name="Ayyash, Aciele" userId="d3b6e59f-bf78-40c2-9728-97caa8495834" providerId="ADAL" clId="{6A933CE2-7D44-4A03-A237-E454BF31EC00}" dt="2021-04-06T11:29:01.118" v="2666" actId="2696"/>
        <pc:sldMkLst>
          <pc:docMk/>
          <pc:sldMk cId="2081874641" sldId="3224"/>
        </pc:sldMkLst>
      </pc:sldChg>
      <pc:sldChg chg="modSp ord">
        <pc:chgData name="Ayyash, Aciele" userId="d3b6e59f-bf78-40c2-9728-97caa8495834" providerId="ADAL" clId="{6A933CE2-7D44-4A03-A237-E454BF31EC00}" dt="2021-04-06T11:26:41.772" v="2420" actId="20577"/>
        <pc:sldMkLst>
          <pc:docMk/>
          <pc:sldMk cId="125674903" sldId="3226"/>
        </pc:sldMkLst>
        <pc:spChg chg="mod">
          <ac:chgData name="Ayyash, Aciele" userId="d3b6e59f-bf78-40c2-9728-97caa8495834" providerId="ADAL" clId="{6A933CE2-7D44-4A03-A237-E454BF31EC00}" dt="2021-04-06T10:59:27.877" v="1766" actId="20577"/>
          <ac:spMkLst>
            <pc:docMk/>
            <pc:sldMk cId="125674903" sldId="3226"/>
            <ac:spMk id="3" creationId="{13371AE7-C7B8-43DF-826B-33639610C574}"/>
          </ac:spMkLst>
        </pc:spChg>
        <pc:spChg chg="mod">
          <ac:chgData name="Ayyash, Aciele" userId="d3b6e59f-bf78-40c2-9728-97caa8495834" providerId="ADAL" clId="{6A933CE2-7D44-4A03-A237-E454BF31EC00}" dt="2021-04-06T10:59:17.665" v="1715" actId="6549"/>
          <ac:spMkLst>
            <pc:docMk/>
            <pc:sldMk cId="125674903" sldId="3226"/>
            <ac:spMk id="5" creationId="{783C2B4F-91B8-49E8-85A2-CF595E6B5DAD}"/>
          </ac:spMkLst>
        </pc:spChg>
        <pc:spChg chg="mod">
          <ac:chgData name="Ayyash, Aciele" userId="d3b6e59f-bf78-40c2-9728-97caa8495834" providerId="ADAL" clId="{6A933CE2-7D44-4A03-A237-E454BF31EC00}" dt="2021-04-06T11:26:41.772" v="2420" actId="20577"/>
          <ac:spMkLst>
            <pc:docMk/>
            <pc:sldMk cId="125674903" sldId="3226"/>
            <ac:spMk id="20" creationId="{7B88B547-50B9-4075-B81E-0E4D294789B4}"/>
          </ac:spMkLst>
        </pc:spChg>
        <pc:spChg chg="mod">
          <ac:chgData name="Ayyash, Aciele" userId="d3b6e59f-bf78-40c2-9728-97caa8495834" providerId="ADAL" clId="{6A933CE2-7D44-4A03-A237-E454BF31EC00}" dt="2021-04-06T11:23:58.085" v="2306" actId="20577"/>
          <ac:spMkLst>
            <pc:docMk/>
            <pc:sldMk cId="125674903" sldId="3226"/>
            <ac:spMk id="21" creationId="{D68811C4-4715-4724-BB5E-3350E0E6AF98}"/>
          </ac:spMkLst>
        </pc:spChg>
        <pc:spChg chg="mod">
          <ac:chgData name="Ayyash, Aciele" userId="d3b6e59f-bf78-40c2-9728-97caa8495834" providerId="ADAL" clId="{6A933CE2-7D44-4A03-A237-E454BF31EC00}" dt="2021-04-06T11:22:52.006" v="2302" actId="255"/>
          <ac:spMkLst>
            <pc:docMk/>
            <pc:sldMk cId="125674903" sldId="3226"/>
            <ac:spMk id="22" creationId="{78066627-C543-4D0D-BD37-BA51C3407802}"/>
          </ac:spMkLst>
        </pc:spChg>
        <pc:spChg chg="mod">
          <ac:chgData name="Ayyash, Aciele" userId="d3b6e59f-bf78-40c2-9728-97caa8495834" providerId="ADAL" clId="{6A933CE2-7D44-4A03-A237-E454BF31EC00}" dt="2021-04-06T11:18:31.479" v="2155" actId="20577"/>
          <ac:spMkLst>
            <pc:docMk/>
            <pc:sldMk cId="125674903" sldId="3226"/>
            <ac:spMk id="29" creationId="{0A03B759-DAA8-4DBA-9DF9-D0BC42CF4E84}"/>
          </ac:spMkLst>
        </pc:spChg>
        <pc:grpChg chg="mod">
          <ac:chgData name="Ayyash, Aciele" userId="d3b6e59f-bf78-40c2-9728-97caa8495834" providerId="ADAL" clId="{6A933CE2-7D44-4A03-A237-E454BF31EC00}" dt="2021-04-06T11:14:14.979" v="1968" actId="14100"/>
          <ac:grpSpMkLst>
            <pc:docMk/>
            <pc:sldMk cId="125674903" sldId="3226"/>
            <ac:grpSpMk id="27" creationId="{75ABED9B-AA21-4568-B810-6BBC10EFF64F}"/>
          </ac:grpSpMkLst>
        </pc:grpChg>
        <pc:graphicFrameChg chg="mod">
          <ac:chgData name="Ayyash, Aciele" userId="d3b6e59f-bf78-40c2-9728-97caa8495834" providerId="ADAL" clId="{6A933CE2-7D44-4A03-A237-E454BF31EC00}" dt="2021-04-06T10:59:28.377" v="1768"/>
          <ac:graphicFrameMkLst>
            <pc:docMk/>
            <pc:sldMk cId="125674903" sldId="3226"/>
            <ac:graphicFrameMk id="6" creationId="{279E81CD-050A-4A87-B231-A644AFAE4602}"/>
          </ac:graphicFrameMkLst>
        </pc:graphicFrameChg>
        <pc:graphicFrameChg chg="mod">
          <ac:chgData name="Ayyash, Aciele" userId="d3b6e59f-bf78-40c2-9728-97caa8495834" providerId="ADAL" clId="{6A933CE2-7D44-4A03-A237-E454BF31EC00}" dt="2021-04-06T11:19:52.388" v="2171" actId="20577"/>
          <ac:graphicFrameMkLst>
            <pc:docMk/>
            <pc:sldMk cId="125674903" sldId="3226"/>
            <ac:graphicFrameMk id="19" creationId="{638545D7-F494-46AA-BB33-05F57799EC76}"/>
          </ac:graphicFrameMkLst>
        </pc:graphicFrameChg>
        <pc:graphicFrameChg chg="mod">
          <ac:chgData name="Ayyash, Aciele" userId="d3b6e59f-bf78-40c2-9728-97caa8495834" providerId="ADAL" clId="{6A933CE2-7D44-4A03-A237-E454BF31EC00}" dt="2021-04-06T11:14:35.258" v="1972"/>
          <ac:graphicFrameMkLst>
            <pc:docMk/>
            <pc:sldMk cId="125674903" sldId="3226"/>
            <ac:graphicFrameMk id="25" creationId="{309B7FB8-C169-47FD-A6C6-082E67B30DE4}"/>
          </ac:graphicFrameMkLst>
        </pc:graphicFrameChg>
      </pc:sldChg>
      <pc:sldChg chg="addSp delSp modSp ord">
        <pc:chgData name="Ayyash, Aciele" userId="d3b6e59f-bf78-40c2-9728-97caa8495834" providerId="ADAL" clId="{6A933CE2-7D44-4A03-A237-E454BF31EC00}" dt="2021-04-06T11:31:35.290" v="2831" actId="1076"/>
        <pc:sldMkLst>
          <pc:docMk/>
          <pc:sldMk cId="3056277168" sldId="3229"/>
        </pc:sldMkLst>
        <pc:spChg chg="mod">
          <ac:chgData name="Ayyash, Aciele" userId="d3b6e59f-bf78-40c2-9728-97caa8495834" providerId="ADAL" clId="{6A933CE2-7D44-4A03-A237-E454BF31EC00}" dt="2021-04-06T09:39:21.810" v="613" actId="20577"/>
          <ac:spMkLst>
            <pc:docMk/>
            <pc:sldMk cId="3056277168" sldId="3229"/>
            <ac:spMk id="3" creationId="{53668229-0EA7-4805-8F08-FEF42BB55D2D}"/>
          </ac:spMkLst>
        </pc:spChg>
        <pc:spChg chg="mod">
          <ac:chgData name="Ayyash, Aciele" userId="d3b6e59f-bf78-40c2-9728-97caa8495834" providerId="ADAL" clId="{6A933CE2-7D44-4A03-A237-E454BF31EC00}" dt="2021-04-06T09:39:22.344" v="634" actId="6549"/>
          <ac:spMkLst>
            <pc:docMk/>
            <pc:sldMk cId="3056277168" sldId="3229"/>
            <ac:spMk id="5" creationId="{E7609972-634B-48F5-998D-095FB4D34B2F}"/>
          </ac:spMkLst>
        </pc:spChg>
        <pc:grpChg chg="mod">
          <ac:chgData name="Ayyash, Aciele" userId="d3b6e59f-bf78-40c2-9728-97caa8495834" providerId="ADAL" clId="{6A933CE2-7D44-4A03-A237-E454BF31EC00}" dt="2021-04-06T09:41:40.625" v="649" actId="1076"/>
          <ac:grpSpMkLst>
            <pc:docMk/>
            <pc:sldMk cId="3056277168" sldId="3229"/>
            <ac:grpSpMk id="21" creationId="{7DFBE3E0-EE3B-424E-BA2B-628D3DF76DD2}"/>
          </ac:grpSpMkLst>
        </pc:grpChg>
        <pc:grpChg chg="add mod">
          <ac:chgData name="Ayyash, Aciele" userId="d3b6e59f-bf78-40c2-9728-97caa8495834" providerId="ADAL" clId="{6A933CE2-7D44-4A03-A237-E454BF31EC00}" dt="2021-04-06T10:10:20.311" v="687" actId="1076"/>
          <ac:grpSpMkLst>
            <pc:docMk/>
            <pc:sldMk cId="3056277168" sldId="3229"/>
            <ac:grpSpMk id="28" creationId="{00D927A4-DF5E-4569-BBE8-35EE2443267A}"/>
          </ac:grpSpMkLst>
        </pc:grpChg>
        <pc:graphicFrameChg chg="mod">
          <ac:chgData name="Ayyash, Aciele" userId="d3b6e59f-bf78-40c2-9728-97caa8495834" providerId="ADAL" clId="{6A933CE2-7D44-4A03-A237-E454BF31EC00}" dt="2021-04-06T09:39:22.386" v="636"/>
          <ac:graphicFrameMkLst>
            <pc:docMk/>
            <pc:sldMk cId="3056277168" sldId="3229"/>
            <ac:graphicFrameMk id="6" creationId="{CD3D8C4E-B317-4B85-A039-B74F26EB9FC7}"/>
          </ac:graphicFrameMkLst>
        </pc:graphicFrameChg>
        <pc:graphicFrameChg chg="mod">
          <ac:chgData name="Ayyash, Aciele" userId="d3b6e59f-bf78-40c2-9728-97caa8495834" providerId="ADAL" clId="{6A933CE2-7D44-4A03-A237-E454BF31EC00}" dt="2021-04-06T09:51:17.022" v="668" actId="1076"/>
          <ac:graphicFrameMkLst>
            <pc:docMk/>
            <pc:sldMk cId="3056277168" sldId="3229"/>
            <ac:graphicFrameMk id="7" creationId="{8073E129-0776-4D0E-9725-BBFF6963DA79}"/>
          </ac:graphicFrameMkLst>
        </pc:graphicFrameChg>
        <pc:graphicFrameChg chg="add del">
          <ac:chgData name="Ayyash, Aciele" userId="d3b6e59f-bf78-40c2-9728-97caa8495834" providerId="ADAL" clId="{6A933CE2-7D44-4A03-A237-E454BF31EC00}" dt="2021-04-06T09:51:38.431" v="670"/>
          <ac:graphicFrameMkLst>
            <pc:docMk/>
            <pc:sldMk cId="3056277168" sldId="3229"/>
            <ac:graphicFrameMk id="27" creationId="{C9F6F44E-00C7-438D-A7A1-966CD5796488}"/>
          </ac:graphicFrameMkLst>
        </pc:graphicFrameChg>
        <pc:picChg chg="mod">
          <ac:chgData name="Ayyash, Aciele" userId="d3b6e59f-bf78-40c2-9728-97caa8495834" providerId="ADAL" clId="{6A933CE2-7D44-4A03-A237-E454BF31EC00}" dt="2021-04-06T09:51:07.771" v="665" actId="1076"/>
          <ac:picMkLst>
            <pc:docMk/>
            <pc:sldMk cId="3056277168" sldId="3229"/>
            <ac:picMk id="8" creationId="{9D7958A8-1C08-4082-8DE0-1F37B3808804}"/>
          </ac:picMkLst>
        </pc:picChg>
        <pc:picChg chg="mod">
          <ac:chgData name="Ayyash, Aciele" userId="d3b6e59f-bf78-40c2-9728-97caa8495834" providerId="ADAL" clId="{6A933CE2-7D44-4A03-A237-E454BF31EC00}" dt="2021-04-06T09:51:01.989" v="662" actId="1076"/>
          <ac:picMkLst>
            <pc:docMk/>
            <pc:sldMk cId="3056277168" sldId="3229"/>
            <ac:picMk id="9" creationId="{1BD66964-D8EE-4770-BEBB-532B6C2E577A}"/>
          </ac:picMkLst>
        </pc:picChg>
        <pc:picChg chg="mod">
          <ac:chgData name="Ayyash, Aciele" userId="d3b6e59f-bf78-40c2-9728-97caa8495834" providerId="ADAL" clId="{6A933CE2-7D44-4A03-A237-E454BF31EC00}" dt="2021-04-06T09:51:09.619" v="666" actId="1076"/>
          <ac:picMkLst>
            <pc:docMk/>
            <pc:sldMk cId="3056277168" sldId="3229"/>
            <ac:picMk id="10" creationId="{FF9C5335-EAEB-4082-AB09-A1477A65835A}"/>
          </ac:picMkLst>
        </pc:picChg>
        <pc:picChg chg="mod">
          <ac:chgData name="Ayyash, Aciele" userId="d3b6e59f-bf78-40c2-9728-97caa8495834" providerId="ADAL" clId="{6A933CE2-7D44-4A03-A237-E454BF31EC00}" dt="2021-04-06T09:51:00.318" v="661" actId="1076"/>
          <ac:picMkLst>
            <pc:docMk/>
            <pc:sldMk cId="3056277168" sldId="3229"/>
            <ac:picMk id="11" creationId="{F2E6CEDD-FC36-4FF1-886F-E981FEE5680E}"/>
          </ac:picMkLst>
        </pc:picChg>
        <pc:picChg chg="mod">
          <ac:chgData name="Ayyash, Aciele" userId="d3b6e59f-bf78-40c2-9728-97caa8495834" providerId="ADAL" clId="{6A933CE2-7D44-4A03-A237-E454BF31EC00}" dt="2021-04-06T11:31:35.290" v="2831" actId="1076"/>
          <ac:picMkLst>
            <pc:docMk/>
            <pc:sldMk cId="3056277168" sldId="3229"/>
            <ac:picMk id="12" creationId="{359179A6-97A4-4E43-9E3E-4D2620BCA5E6}"/>
          </ac:picMkLst>
        </pc:picChg>
        <pc:picChg chg="mod">
          <ac:chgData name="Ayyash, Aciele" userId="d3b6e59f-bf78-40c2-9728-97caa8495834" providerId="ADAL" clId="{6A933CE2-7D44-4A03-A237-E454BF31EC00}" dt="2021-04-06T09:50:47.180" v="656" actId="1076"/>
          <ac:picMkLst>
            <pc:docMk/>
            <pc:sldMk cId="3056277168" sldId="3229"/>
            <ac:picMk id="13" creationId="{135DF122-E01B-4745-A4DC-AE5605D54BFF}"/>
          </ac:picMkLst>
        </pc:picChg>
        <pc:picChg chg="mod">
          <ac:chgData name="Ayyash, Aciele" userId="d3b6e59f-bf78-40c2-9728-97caa8495834" providerId="ADAL" clId="{6A933CE2-7D44-4A03-A237-E454BF31EC00}" dt="2021-04-06T11:31:29.883" v="2830" actId="1076"/>
          <ac:picMkLst>
            <pc:docMk/>
            <pc:sldMk cId="3056277168" sldId="3229"/>
            <ac:picMk id="14" creationId="{BBA06A7D-68B6-4F36-8127-6254CA9ACFCD}"/>
          </ac:picMkLst>
        </pc:picChg>
        <pc:picChg chg="mod">
          <ac:chgData name="Ayyash, Aciele" userId="d3b6e59f-bf78-40c2-9728-97caa8495834" providerId="ADAL" clId="{6A933CE2-7D44-4A03-A237-E454BF31EC00}" dt="2021-04-06T09:50:52.923" v="658" actId="1076"/>
          <ac:picMkLst>
            <pc:docMk/>
            <pc:sldMk cId="3056277168" sldId="3229"/>
            <ac:picMk id="15" creationId="{DDAB8C0B-E91A-48C5-B7A9-5939EFA32506}"/>
          </ac:picMkLst>
        </pc:picChg>
        <pc:picChg chg="mod">
          <ac:chgData name="Ayyash, Aciele" userId="d3b6e59f-bf78-40c2-9728-97caa8495834" providerId="ADAL" clId="{6A933CE2-7D44-4A03-A237-E454BF31EC00}" dt="2021-04-06T11:31:25.812" v="2829" actId="1076"/>
          <ac:picMkLst>
            <pc:docMk/>
            <pc:sldMk cId="3056277168" sldId="3229"/>
            <ac:picMk id="16" creationId="{87C02FCD-44BF-4D72-AE63-537BC9101AA9}"/>
          </ac:picMkLst>
        </pc:picChg>
        <pc:picChg chg="add mod">
          <ac:chgData name="Ayyash, Aciele" userId="d3b6e59f-bf78-40c2-9728-97caa8495834" providerId="ADAL" clId="{6A933CE2-7D44-4A03-A237-E454BF31EC00}" dt="2021-04-06T09:41:25.752" v="645" actId="14100"/>
          <ac:picMkLst>
            <pc:docMk/>
            <pc:sldMk cId="3056277168" sldId="3229"/>
            <ac:picMk id="17" creationId="{A1CFBAD3-E2BF-4952-80F9-27CF20B96E06}"/>
          </ac:picMkLst>
        </pc:picChg>
        <pc:picChg chg="add del mod">
          <ac:chgData name="Ayyash, Aciele" userId="d3b6e59f-bf78-40c2-9728-97caa8495834" providerId="ADAL" clId="{6A933CE2-7D44-4A03-A237-E454BF31EC00}" dt="2021-04-06T10:10:12.312" v="684"/>
          <ac:picMkLst>
            <pc:docMk/>
            <pc:sldMk cId="3056277168" sldId="3229"/>
            <ac:picMk id="26" creationId="{243C706C-4DD2-47BB-AF12-601797D6F834}"/>
          </ac:picMkLst>
        </pc:picChg>
      </pc:sldChg>
      <pc:sldChg chg="addSp delSp modSp">
        <pc:chgData name="Ayyash, Aciele" userId="d3b6e59f-bf78-40c2-9728-97caa8495834" providerId="ADAL" clId="{6A933CE2-7D44-4A03-A237-E454BF31EC00}" dt="2021-04-06T09:48:43.142" v="654"/>
        <pc:sldMkLst>
          <pc:docMk/>
          <pc:sldMk cId="3166039931" sldId="3230"/>
        </pc:sldMkLst>
        <pc:spChg chg="del mod">
          <ac:chgData name="Ayyash, Aciele" userId="d3b6e59f-bf78-40c2-9728-97caa8495834" providerId="ADAL" clId="{6A933CE2-7D44-4A03-A237-E454BF31EC00}" dt="2021-04-06T09:48:37.027" v="652"/>
          <ac:spMkLst>
            <pc:docMk/>
            <pc:sldMk cId="3166039931" sldId="3230"/>
            <ac:spMk id="2" creationId="{9A450A2A-E09F-4E6C-A1BB-17E250D8FF6F}"/>
          </ac:spMkLst>
        </pc:spChg>
        <pc:spChg chg="add del">
          <ac:chgData name="Ayyash, Aciele" userId="d3b6e59f-bf78-40c2-9728-97caa8495834" providerId="ADAL" clId="{6A933CE2-7D44-4A03-A237-E454BF31EC00}" dt="2021-04-06T09:48:43.142" v="654"/>
          <ac:spMkLst>
            <pc:docMk/>
            <pc:sldMk cId="3166039931" sldId="3230"/>
            <ac:spMk id="4" creationId="{19AC40F4-17BC-4181-8DD9-89E73CDA4B36}"/>
          </ac:spMkLst>
        </pc:spChg>
      </pc:sldChg>
      <pc:sldChg chg="del">
        <pc:chgData name="Ayyash, Aciele" userId="d3b6e59f-bf78-40c2-9728-97caa8495834" providerId="ADAL" clId="{6A933CE2-7D44-4A03-A237-E454BF31EC00}" dt="2021-04-06T11:29:03.039" v="2667" actId="2696"/>
        <pc:sldMkLst>
          <pc:docMk/>
          <pc:sldMk cId="3250999047" sldId="3232"/>
        </pc:sldMkLst>
      </pc:sldChg>
      <pc:sldChg chg="del">
        <pc:chgData name="Ayyash, Aciele" userId="d3b6e59f-bf78-40c2-9728-97caa8495834" providerId="ADAL" clId="{6A933CE2-7D44-4A03-A237-E454BF31EC00}" dt="2021-04-06T11:29:04.886" v="2668" actId="2696"/>
        <pc:sldMkLst>
          <pc:docMk/>
          <pc:sldMk cId="1611375681" sldId="3233"/>
        </pc:sldMkLst>
      </pc:sldChg>
      <pc:sldChg chg="delSp ord">
        <pc:chgData name="Ayyash, Aciele" userId="d3b6e59f-bf78-40c2-9728-97caa8495834" providerId="ADAL" clId="{6A933CE2-7D44-4A03-A237-E454BF31EC00}" dt="2021-04-06T09:55:20.144" v="672"/>
        <pc:sldMkLst>
          <pc:docMk/>
          <pc:sldMk cId="3170771383" sldId="3234"/>
        </pc:sldMkLst>
        <pc:spChg chg="del">
          <ac:chgData name="Ayyash, Aciele" userId="d3b6e59f-bf78-40c2-9728-97caa8495834" providerId="ADAL" clId="{6A933CE2-7D44-4A03-A237-E454BF31EC00}" dt="2021-04-06T09:55:09.242" v="671"/>
          <ac:spMkLst>
            <pc:docMk/>
            <pc:sldMk cId="3170771383" sldId="3234"/>
            <ac:spMk id="4" creationId="{CB697241-CC59-4BF5-B337-BC71B93A89EE}"/>
          </ac:spMkLst>
        </pc:spChg>
      </pc:sldChg>
      <pc:sldChg chg="addSp delSp modSp add ord">
        <pc:chgData name="Ayyash, Aciele" userId="d3b6e59f-bf78-40c2-9728-97caa8495834" providerId="ADAL" clId="{6A933CE2-7D44-4A03-A237-E454BF31EC00}" dt="2021-04-06T11:01:44.643" v="1780" actId="1076"/>
        <pc:sldMkLst>
          <pc:docMk/>
          <pc:sldMk cId="3877790536" sldId="3235"/>
        </pc:sldMkLst>
        <pc:spChg chg="mod">
          <ac:chgData name="Ayyash, Aciele" userId="d3b6e59f-bf78-40c2-9728-97caa8495834" providerId="ADAL" clId="{6A933CE2-7D44-4A03-A237-E454BF31EC00}" dt="2021-04-06T11:00:50.189" v="1776" actId="20577"/>
          <ac:spMkLst>
            <pc:docMk/>
            <pc:sldMk cId="3877790536" sldId="3235"/>
            <ac:spMk id="2" creationId="{8E1881CB-A902-411A-BF02-1E8BA8651FDE}"/>
          </ac:spMkLst>
        </pc:spChg>
        <pc:spChg chg="mod">
          <ac:chgData name="Ayyash, Aciele" userId="d3b6e59f-bf78-40c2-9728-97caa8495834" providerId="ADAL" clId="{6A933CE2-7D44-4A03-A237-E454BF31EC00}" dt="2021-04-06T10:45:18.613" v="1129" actId="207"/>
          <ac:spMkLst>
            <pc:docMk/>
            <pc:sldMk cId="3877790536" sldId="3235"/>
            <ac:spMk id="3" creationId="{66EEE907-2FAE-4971-87D4-B653E3E37229}"/>
          </ac:spMkLst>
        </pc:spChg>
        <pc:spChg chg="del mod ord">
          <ac:chgData name="Ayyash, Aciele" userId="d3b6e59f-bf78-40c2-9728-97caa8495834" providerId="ADAL" clId="{6A933CE2-7D44-4A03-A237-E454BF31EC00}" dt="2021-04-06T10:34:56.892" v="694"/>
          <ac:spMkLst>
            <pc:docMk/>
            <pc:sldMk cId="3877790536" sldId="3235"/>
            <ac:spMk id="4" creationId="{FC131FA1-A7BF-4ECF-9B5B-896DA650A68C}"/>
          </ac:spMkLst>
        </pc:spChg>
        <pc:spChg chg="add mod ord modVis">
          <ac:chgData name="Ayyash, Aciele" userId="d3b6e59f-bf78-40c2-9728-97caa8495834" providerId="ADAL" clId="{6A933CE2-7D44-4A03-A237-E454BF31EC00}" dt="2021-04-06T10:35:37.316" v="703"/>
          <ac:spMkLst>
            <pc:docMk/>
            <pc:sldMk cId="3877790536" sldId="3235"/>
            <ac:spMk id="6" creationId="{5998D50C-7D30-4A08-A4B8-6A9E8BBAD11D}"/>
          </ac:spMkLst>
        </pc:spChg>
        <pc:spChg chg="add del">
          <ac:chgData name="Ayyash, Aciele" userId="d3b6e59f-bf78-40c2-9728-97caa8495834" providerId="ADAL" clId="{6A933CE2-7D44-4A03-A237-E454BF31EC00}" dt="2021-04-06T10:08:06.427" v="679"/>
          <ac:spMkLst>
            <pc:docMk/>
            <pc:sldMk cId="3877790536" sldId="3235"/>
            <ac:spMk id="8" creationId="{2A3FB354-4578-4D11-B38A-7629BD2BE617}"/>
          </ac:spMkLst>
        </pc:spChg>
        <pc:grpChg chg="add del">
          <ac:chgData name="Ayyash, Aciele" userId="d3b6e59f-bf78-40c2-9728-97caa8495834" providerId="ADAL" clId="{6A933CE2-7D44-4A03-A237-E454BF31EC00}" dt="2021-04-06T10:10:23.834" v="688"/>
          <ac:grpSpMkLst>
            <pc:docMk/>
            <pc:sldMk cId="3877790536" sldId="3235"/>
            <ac:grpSpMk id="9" creationId="{2182AE02-ACA8-43BC-9DEC-AF85BE3BB850}"/>
          </ac:grpSpMkLst>
        </pc:grpChg>
        <pc:grpChg chg="add del mod">
          <ac:chgData name="Ayyash, Aciele" userId="d3b6e59f-bf78-40c2-9728-97caa8495834" providerId="ADAL" clId="{6A933CE2-7D44-4A03-A237-E454BF31EC00}" dt="2021-04-06T10:41:06.288" v="765"/>
          <ac:grpSpMkLst>
            <pc:docMk/>
            <pc:sldMk cId="3877790536" sldId="3235"/>
            <ac:grpSpMk id="247" creationId="{137885DC-866A-46D2-A834-14440E9B186E}"/>
          </ac:grpSpMkLst>
        </pc:grpChg>
        <pc:grpChg chg="add mod">
          <ac:chgData name="Ayyash, Aciele" userId="d3b6e59f-bf78-40c2-9728-97caa8495834" providerId="ADAL" clId="{6A933CE2-7D44-4A03-A237-E454BF31EC00}" dt="2021-04-06T11:01:44.643" v="1780" actId="1076"/>
          <ac:grpSpMkLst>
            <pc:docMk/>
            <pc:sldMk cId="3877790536" sldId="3235"/>
            <ac:grpSpMk id="251" creationId="{FBC4BB68-36BC-45C6-BD50-03D0F0292237}"/>
          </ac:grpSpMkLst>
        </pc:grpChg>
        <pc:graphicFrameChg chg="add mod ord modVis">
          <ac:chgData name="Ayyash, Aciele" userId="d3b6e59f-bf78-40c2-9728-97caa8495834" providerId="ADAL" clId="{6A933CE2-7D44-4A03-A237-E454BF31EC00}" dt="2021-04-06T10:45:19.121" v="1131"/>
          <ac:graphicFrameMkLst>
            <pc:docMk/>
            <pc:sldMk cId="3877790536" sldId="3235"/>
            <ac:graphicFrameMk id="5" creationId="{10C52CE7-DEEA-456D-B392-122DF9AACF27}"/>
          </ac:graphicFrameMkLst>
        </pc:graphicFrameChg>
        <pc:picChg chg="add mod">
          <ac:chgData name="Ayyash, Aciele" userId="d3b6e59f-bf78-40c2-9728-97caa8495834" providerId="ADAL" clId="{6A933CE2-7D44-4A03-A237-E454BF31EC00}" dt="2021-04-06T10:57:53.471" v="1675" actId="1076"/>
          <ac:picMkLst>
            <pc:docMk/>
            <pc:sldMk cId="3877790536" sldId="3235"/>
            <ac:picMk id="7" creationId="{7C7B5314-7C76-42BD-B962-B461E7CA8CFE}"/>
          </ac:picMkLst>
        </pc:picChg>
        <pc:picChg chg="add del mod ord">
          <ac:chgData name="Ayyash, Aciele" userId="d3b6e59f-bf78-40c2-9728-97caa8495834" providerId="ADAL" clId="{6A933CE2-7D44-4A03-A237-E454BF31EC00}" dt="2021-04-06T10:57:50.283" v="1673"/>
          <ac:picMkLst>
            <pc:docMk/>
            <pc:sldMk cId="3877790536" sldId="3235"/>
            <ac:picMk id="246" creationId="{CECA738D-DCF9-433F-A870-6BE20CBD4194}"/>
          </ac:picMkLst>
        </pc:picChg>
      </pc:sldChg>
      <pc:sldChg chg="addSp modSp add del ord">
        <pc:chgData name="Ayyash, Aciele" userId="d3b6e59f-bf78-40c2-9728-97caa8495834" providerId="ADAL" clId="{6A933CE2-7D44-4A03-A237-E454BF31EC00}" dt="2021-04-06T09:55:29.578" v="674" actId="2696"/>
        <pc:sldMkLst>
          <pc:docMk/>
          <pc:sldMk cId="1576490063" sldId="3236"/>
        </pc:sldMkLst>
        <pc:spChg chg="mod">
          <ac:chgData name="Ayyash, Aciele" userId="d3b6e59f-bf78-40c2-9728-97caa8495834" providerId="ADAL" clId="{6A933CE2-7D44-4A03-A237-E454BF31EC00}" dt="2021-04-06T09:37:38.353" v="344"/>
          <ac:spMkLst>
            <pc:docMk/>
            <pc:sldMk cId="1576490063" sldId="3236"/>
            <ac:spMk id="2" creationId="{F32F7F3F-2130-40AF-8F0E-75040ED1F6B8}"/>
          </ac:spMkLst>
        </pc:spChg>
        <pc:spChg chg="mod">
          <ac:chgData name="Ayyash, Aciele" userId="d3b6e59f-bf78-40c2-9728-97caa8495834" providerId="ADAL" clId="{6A933CE2-7D44-4A03-A237-E454BF31EC00}" dt="2021-04-06T09:37:43.820" v="376" actId="20577"/>
          <ac:spMkLst>
            <pc:docMk/>
            <pc:sldMk cId="1576490063" sldId="3236"/>
            <ac:spMk id="3" creationId="{1D57F885-5179-4423-85BF-2910EB00CF9B}"/>
          </ac:spMkLst>
        </pc:spChg>
        <pc:spChg chg="mod ord">
          <ac:chgData name="Ayyash, Aciele" userId="d3b6e59f-bf78-40c2-9728-97caa8495834" providerId="ADAL" clId="{6A933CE2-7D44-4A03-A237-E454BF31EC00}" dt="2021-04-06T09:37:38.355" v="347"/>
          <ac:spMkLst>
            <pc:docMk/>
            <pc:sldMk cId="1576490063" sldId="3236"/>
            <ac:spMk id="4" creationId="{93D5A1ED-A8A3-4A41-9DB0-C40242CD4FF0}"/>
          </ac:spMkLst>
        </pc:spChg>
        <pc:spChg chg="add mod ord modVis">
          <ac:chgData name="Ayyash, Aciele" userId="d3b6e59f-bf78-40c2-9728-97caa8495834" providerId="ADAL" clId="{6A933CE2-7D44-4A03-A237-E454BF31EC00}" dt="2021-04-06T09:37:38.352" v="343"/>
          <ac:spMkLst>
            <pc:docMk/>
            <pc:sldMk cId="1576490063" sldId="3236"/>
            <ac:spMk id="5" creationId="{64AE7156-CE3D-40C9-A933-E410090E17AE}"/>
          </ac:spMkLst>
        </pc:spChg>
        <pc:graphicFrameChg chg="add mod ord modVis">
          <ac:chgData name="Ayyash, Aciele" userId="d3b6e59f-bf78-40c2-9728-97caa8495834" providerId="ADAL" clId="{6A933CE2-7D44-4A03-A237-E454BF31EC00}" dt="2021-04-06T09:37:44.328" v="378"/>
          <ac:graphicFrameMkLst>
            <pc:docMk/>
            <pc:sldMk cId="1576490063" sldId="3236"/>
            <ac:graphicFrameMk id="6" creationId="{CB43E36D-9EEF-405E-B11D-A3E8253E0AE2}"/>
          </ac:graphicFrameMkLst>
        </pc:graphicFrameChg>
      </pc:sldChg>
      <pc:sldChg chg="addSp modSp add del ord">
        <pc:chgData name="Ayyash, Aciele" userId="d3b6e59f-bf78-40c2-9728-97caa8495834" providerId="ADAL" clId="{6A933CE2-7D44-4A03-A237-E454BF31EC00}" dt="2021-04-06T09:55:32.424" v="675" actId="2696"/>
        <pc:sldMkLst>
          <pc:docMk/>
          <pc:sldMk cId="3457695736" sldId="3237"/>
        </pc:sldMkLst>
        <pc:spChg chg="mod">
          <ac:chgData name="Ayyash, Aciele" userId="d3b6e59f-bf78-40c2-9728-97caa8495834" providerId="ADAL" clId="{6A933CE2-7D44-4A03-A237-E454BF31EC00}" dt="2021-04-06T09:37:55.305" v="425"/>
          <ac:spMkLst>
            <pc:docMk/>
            <pc:sldMk cId="3457695736" sldId="3237"/>
            <ac:spMk id="2" creationId="{237B3E49-5D11-45FF-8DEC-93BA3A64866A}"/>
          </ac:spMkLst>
        </pc:spChg>
        <pc:spChg chg="mod">
          <ac:chgData name="Ayyash, Aciele" userId="d3b6e59f-bf78-40c2-9728-97caa8495834" providerId="ADAL" clId="{6A933CE2-7D44-4A03-A237-E454BF31EC00}" dt="2021-04-06T09:37:55.306" v="426"/>
          <ac:spMkLst>
            <pc:docMk/>
            <pc:sldMk cId="3457695736" sldId="3237"/>
            <ac:spMk id="3" creationId="{435760C7-103E-440C-8677-52A19143D888}"/>
          </ac:spMkLst>
        </pc:spChg>
        <pc:spChg chg="mod ord">
          <ac:chgData name="Ayyash, Aciele" userId="d3b6e59f-bf78-40c2-9728-97caa8495834" providerId="ADAL" clId="{6A933CE2-7D44-4A03-A237-E454BF31EC00}" dt="2021-04-06T09:37:55.307" v="428"/>
          <ac:spMkLst>
            <pc:docMk/>
            <pc:sldMk cId="3457695736" sldId="3237"/>
            <ac:spMk id="4" creationId="{FFD4F14F-4D8F-4CFA-BF1F-C812CAB05916}"/>
          </ac:spMkLst>
        </pc:spChg>
        <pc:spChg chg="add mod ord modVis">
          <ac:chgData name="Ayyash, Aciele" userId="d3b6e59f-bf78-40c2-9728-97caa8495834" providerId="ADAL" clId="{6A933CE2-7D44-4A03-A237-E454BF31EC00}" dt="2021-04-06T09:37:55.305" v="424"/>
          <ac:spMkLst>
            <pc:docMk/>
            <pc:sldMk cId="3457695736" sldId="3237"/>
            <ac:spMk id="5" creationId="{035FE9F6-78F3-4D90-A1FC-45951B016F80}"/>
          </ac:spMkLst>
        </pc:spChg>
        <pc:graphicFrameChg chg="add mod ord modVis">
          <ac:chgData name="Ayyash, Aciele" userId="d3b6e59f-bf78-40c2-9728-97caa8495834" providerId="ADAL" clId="{6A933CE2-7D44-4A03-A237-E454BF31EC00}" dt="2021-04-06T09:37:55.352" v="443"/>
          <ac:graphicFrameMkLst>
            <pc:docMk/>
            <pc:sldMk cId="3457695736" sldId="3237"/>
            <ac:graphicFrameMk id="6" creationId="{839DBE82-FE91-431F-8CA8-2831742DA3A5}"/>
          </ac:graphicFrameMkLst>
        </pc:graphicFrameChg>
      </pc:sldChg>
      <pc:sldChg chg="addSp delSp modSp add del">
        <pc:chgData name="Ayyash, Aciele" userId="d3b6e59f-bf78-40c2-9728-97caa8495834" providerId="ADAL" clId="{6A933CE2-7D44-4A03-A237-E454BF31EC00}" dt="2021-04-06T11:01:32.982" v="1777" actId="2696"/>
        <pc:sldMkLst>
          <pc:docMk/>
          <pc:sldMk cId="439037947" sldId="3238"/>
        </pc:sldMkLst>
        <pc:spChg chg="mod">
          <ac:chgData name="Ayyash, Aciele" userId="d3b6e59f-bf78-40c2-9728-97caa8495834" providerId="ADAL" clId="{6A933CE2-7D44-4A03-A237-E454BF31EC00}" dt="2021-04-06T09:38:12.289" v="510"/>
          <ac:spMkLst>
            <pc:docMk/>
            <pc:sldMk cId="439037947" sldId="3238"/>
            <ac:spMk id="2" creationId="{0B3A6BF9-FADC-48C0-AB44-3C1A4F391BB1}"/>
          </ac:spMkLst>
        </pc:spChg>
        <pc:spChg chg="mod">
          <ac:chgData name="Ayyash, Aciele" userId="d3b6e59f-bf78-40c2-9728-97caa8495834" providerId="ADAL" clId="{6A933CE2-7D44-4A03-A237-E454BF31EC00}" dt="2021-04-06T09:38:16.739" v="529" actId="20577"/>
          <ac:spMkLst>
            <pc:docMk/>
            <pc:sldMk cId="439037947" sldId="3238"/>
            <ac:spMk id="3" creationId="{2E845B35-7960-4C1C-A411-D773F95D8F7B}"/>
          </ac:spMkLst>
        </pc:spChg>
        <pc:spChg chg="del mod ord">
          <ac:chgData name="Ayyash, Aciele" userId="d3b6e59f-bf78-40c2-9728-97caa8495834" providerId="ADAL" clId="{6A933CE2-7D44-4A03-A237-E454BF31EC00}" dt="2021-04-06T10:58:35.245" v="1681"/>
          <ac:spMkLst>
            <pc:docMk/>
            <pc:sldMk cId="439037947" sldId="3238"/>
            <ac:spMk id="4" creationId="{36BB3F75-8F0A-443E-B55F-A37A81CFD233}"/>
          </ac:spMkLst>
        </pc:spChg>
        <pc:spChg chg="add mod ord modVis">
          <ac:chgData name="Ayyash, Aciele" userId="d3b6e59f-bf78-40c2-9728-97caa8495834" providerId="ADAL" clId="{6A933CE2-7D44-4A03-A237-E454BF31EC00}" dt="2021-04-06T09:38:12.288" v="509"/>
          <ac:spMkLst>
            <pc:docMk/>
            <pc:sldMk cId="439037947" sldId="3238"/>
            <ac:spMk id="6" creationId="{1A1BDB07-8118-4628-B6B2-6FCC2AC8182A}"/>
          </ac:spMkLst>
        </pc:spChg>
        <pc:graphicFrameChg chg="add mod ord modVis">
          <ac:chgData name="Ayyash, Aciele" userId="d3b6e59f-bf78-40c2-9728-97caa8495834" providerId="ADAL" clId="{6A933CE2-7D44-4A03-A237-E454BF31EC00}" dt="2021-04-06T09:38:17.253" v="531"/>
          <ac:graphicFrameMkLst>
            <pc:docMk/>
            <pc:sldMk cId="439037947" sldId="3238"/>
            <ac:graphicFrameMk id="5" creationId="{D0F0FE32-6EB3-4553-A046-9836A208778E}"/>
          </ac:graphicFrameMkLst>
        </pc:graphicFrameChg>
      </pc:sldChg>
      <pc:sldChg chg="addSp modSp add">
        <pc:chgData name="Ayyash, Aciele" userId="d3b6e59f-bf78-40c2-9728-97caa8495834" providerId="ADAL" clId="{6A933CE2-7D44-4A03-A237-E454BF31EC00}" dt="2021-04-06T11:30:56.294" v="2828" actId="20577"/>
        <pc:sldMkLst>
          <pc:docMk/>
          <pc:sldMk cId="2086314296" sldId="3239"/>
        </pc:sldMkLst>
        <pc:spChg chg="mod">
          <ac:chgData name="Ayyash, Aciele" userId="d3b6e59f-bf78-40c2-9728-97caa8495834" providerId="ADAL" clId="{6A933CE2-7D44-4A03-A237-E454BF31EC00}" dt="2021-04-06T11:30:56.294" v="2828" actId="20577"/>
          <ac:spMkLst>
            <pc:docMk/>
            <pc:sldMk cId="2086314296" sldId="3239"/>
            <ac:spMk id="2" creationId="{27E7807D-B589-486A-8460-E012ADD16CD0}"/>
          </ac:spMkLst>
        </pc:spChg>
        <pc:spChg chg="mod">
          <ac:chgData name="Ayyash, Aciele" userId="d3b6e59f-bf78-40c2-9728-97caa8495834" providerId="ADAL" clId="{6A933CE2-7D44-4A03-A237-E454BF31EC00}" dt="2021-04-06T11:30:05.173" v="2769" actId="20577"/>
          <ac:spMkLst>
            <pc:docMk/>
            <pc:sldMk cId="2086314296" sldId="3239"/>
            <ac:spMk id="3" creationId="{0DBC3970-9A28-414A-8B7B-D2BAC833FC45}"/>
          </ac:spMkLst>
        </pc:spChg>
        <pc:spChg chg="mod ord">
          <ac:chgData name="Ayyash, Aciele" userId="d3b6e59f-bf78-40c2-9728-97caa8495834" providerId="ADAL" clId="{6A933CE2-7D44-4A03-A237-E454BF31EC00}" dt="2021-04-06T09:38:22.308" v="576"/>
          <ac:spMkLst>
            <pc:docMk/>
            <pc:sldMk cId="2086314296" sldId="3239"/>
            <ac:spMk id="4" creationId="{51CCFECB-A041-4AA7-82F6-08D032D5BD0E}"/>
          </ac:spMkLst>
        </pc:spChg>
        <pc:spChg chg="add mod ord modVis">
          <ac:chgData name="Ayyash, Aciele" userId="d3b6e59f-bf78-40c2-9728-97caa8495834" providerId="ADAL" clId="{6A933CE2-7D44-4A03-A237-E454BF31EC00}" dt="2021-04-06T09:38:22.304" v="572"/>
          <ac:spMkLst>
            <pc:docMk/>
            <pc:sldMk cId="2086314296" sldId="3239"/>
            <ac:spMk id="5" creationId="{71696F45-EC50-47EE-B537-FD61D883BF1D}"/>
          </ac:spMkLst>
        </pc:spChg>
        <pc:graphicFrameChg chg="add mod ord modVis">
          <ac:chgData name="Ayyash, Aciele" userId="d3b6e59f-bf78-40c2-9728-97caa8495834" providerId="ADAL" clId="{6A933CE2-7D44-4A03-A237-E454BF31EC00}" dt="2021-04-06T11:30:05.710" v="2771"/>
          <ac:graphicFrameMkLst>
            <pc:docMk/>
            <pc:sldMk cId="2086314296" sldId="3239"/>
            <ac:graphicFrameMk id="6" creationId="{4D207E8C-A9EF-4E7D-AFA6-65F0EBD99E68}"/>
          </ac:graphicFrameMkLst>
        </pc:graphicFrameChg>
      </pc:sldChg>
    </pc:docChg>
  </pc:docChgLst>
  <pc:docChgLst>
    <pc:chgData name="Ayyash, Aciele" userId="S::aciele.ayyash@uk.nationalgrid.com::d3b6e59f-bf78-40c2-9728-97caa8495834" providerId="AD" clId="Web-{3D32AF26-E094-5E1B-2595-5C151E7F3B0F}"/>
    <pc:docChg chg="modSld">
      <pc:chgData name="Ayyash, Aciele" userId="S::aciele.ayyash@uk.nationalgrid.com::d3b6e59f-bf78-40c2-9728-97caa8495834" providerId="AD" clId="Web-{3D32AF26-E094-5E1B-2595-5C151E7F3B0F}" dt="2021-04-07T10:55:42.642" v="20" actId="20577"/>
      <pc:docMkLst>
        <pc:docMk/>
      </pc:docMkLst>
      <pc:sldChg chg="modSp">
        <pc:chgData name="Ayyash, Aciele" userId="S::aciele.ayyash@uk.nationalgrid.com::d3b6e59f-bf78-40c2-9728-97caa8495834" providerId="AD" clId="Web-{3D32AF26-E094-5E1B-2595-5C151E7F3B0F}" dt="2021-04-07T10:51:38.701" v="8" actId="20577"/>
        <pc:sldMkLst>
          <pc:docMk/>
          <pc:sldMk cId="3877790536" sldId="3235"/>
        </pc:sldMkLst>
        <pc:spChg chg="mod">
          <ac:chgData name="Ayyash, Aciele" userId="S::aciele.ayyash@uk.nationalgrid.com::d3b6e59f-bf78-40c2-9728-97caa8495834" providerId="AD" clId="Web-{3D32AF26-E094-5E1B-2595-5C151E7F3B0F}" dt="2021-04-07T10:51:38.701" v="8" actId="20577"/>
          <ac:spMkLst>
            <pc:docMk/>
            <pc:sldMk cId="3877790536" sldId="3235"/>
            <ac:spMk id="2" creationId="{8E1881CB-A902-411A-BF02-1E8BA8651FDE}"/>
          </ac:spMkLst>
        </pc:spChg>
      </pc:sldChg>
      <pc:sldChg chg="delSp modSp">
        <pc:chgData name="Ayyash, Aciele" userId="S::aciele.ayyash@uk.nationalgrid.com::d3b6e59f-bf78-40c2-9728-97caa8495834" providerId="AD" clId="Web-{3D32AF26-E094-5E1B-2595-5C151E7F3B0F}" dt="2021-04-07T10:55:42.642" v="20" actId="20577"/>
        <pc:sldMkLst>
          <pc:docMk/>
          <pc:sldMk cId="2086314296" sldId="3239"/>
        </pc:sldMkLst>
        <pc:spChg chg="mod">
          <ac:chgData name="Ayyash, Aciele" userId="S::aciele.ayyash@uk.nationalgrid.com::d3b6e59f-bf78-40c2-9728-97caa8495834" providerId="AD" clId="Web-{3D32AF26-E094-5E1B-2595-5C151E7F3B0F}" dt="2021-04-07T10:55:42.642" v="20" actId="20577"/>
          <ac:spMkLst>
            <pc:docMk/>
            <pc:sldMk cId="2086314296" sldId="3239"/>
            <ac:spMk id="2" creationId="{27E7807D-B589-486A-8460-E012ADD16CD0}"/>
          </ac:spMkLst>
        </pc:spChg>
        <pc:spChg chg="del">
          <ac:chgData name="Ayyash, Aciele" userId="S::aciele.ayyash@uk.nationalgrid.com::d3b6e59f-bf78-40c2-9728-97caa8495834" providerId="AD" clId="Web-{3D32AF26-E094-5E1B-2595-5C151E7F3B0F}" dt="2021-04-07T10:54:41.235" v="9"/>
          <ac:spMkLst>
            <pc:docMk/>
            <pc:sldMk cId="2086314296" sldId="3239"/>
            <ac:spMk id="4" creationId="{51CCFECB-A041-4AA7-82F6-08D032D5BD0E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1E83FC-97AC-4C6A-8D31-7974C132B76E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4D85F55-7538-4A05-8611-EBB9E802AD61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r>
            <a:rPr lang="en-GB" sz="1050" b="0"/>
            <a:t>Gather data</a:t>
          </a:r>
          <a:endParaRPr lang="en-US" sz="1050" b="0"/>
        </a:p>
      </dgm:t>
    </dgm:pt>
    <dgm:pt modelId="{57110B7C-1C3A-48C7-A9A9-6B80CF8F0924}" type="parTrans" cxnId="{3045C298-57DB-420E-A4D3-5549E8539BE9}">
      <dgm:prSet/>
      <dgm:spPr/>
      <dgm:t>
        <a:bodyPr/>
        <a:lstStyle/>
        <a:p>
          <a:endParaRPr lang="en-US" sz="1100"/>
        </a:p>
      </dgm:t>
    </dgm:pt>
    <dgm:pt modelId="{78150D61-5D75-4EE0-80E5-5EFF1F0381F2}" type="sibTrans" cxnId="{3045C298-57DB-420E-A4D3-5549E8539BE9}">
      <dgm:prSet/>
      <dgm:spPr/>
      <dgm:t>
        <a:bodyPr/>
        <a:lstStyle/>
        <a:p>
          <a:endParaRPr lang="en-US" sz="1100"/>
        </a:p>
      </dgm:t>
    </dgm:pt>
    <dgm:pt modelId="{9B78A21A-7823-4234-8ED4-82C0991C88C8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pPr algn="ctr"/>
          <a:r>
            <a:rPr lang="en-GB" sz="1100" b="0"/>
            <a:t>Refine</a:t>
          </a:r>
          <a:endParaRPr lang="en-US" sz="1100" b="0"/>
        </a:p>
      </dgm:t>
    </dgm:pt>
    <dgm:pt modelId="{AA2AFF89-FAB6-4289-89F1-9EC5E529BC3F}" type="parTrans" cxnId="{91CFE027-0CF9-497E-86C7-E0BCA7C7EE5D}">
      <dgm:prSet/>
      <dgm:spPr/>
      <dgm:t>
        <a:bodyPr/>
        <a:lstStyle/>
        <a:p>
          <a:endParaRPr lang="en-US" sz="1100"/>
        </a:p>
      </dgm:t>
    </dgm:pt>
    <dgm:pt modelId="{CEA86671-5445-479C-9C10-0F7B5375840D}" type="sibTrans" cxnId="{91CFE027-0CF9-497E-86C7-E0BCA7C7EE5D}">
      <dgm:prSet/>
      <dgm:spPr/>
      <dgm:t>
        <a:bodyPr/>
        <a:lstStyle/>
        <a:p>
          <a:endParaRPr lang="en-US" sz="1100"/>
        </a:p>
      </dgm:t>
    </dgm:pt>
    <dgm:pt modelId="{81FB594D-0F5B-433F-96A0-3F78DC6B4C01}">
      <dgm:prSet phldrT="[Text]" custT="1"/>
      <dgm:spPr/>
      <dgm:t>
        <a:bodyPr/>
        <a:lstStyle/>
        <a:p>
          <a:r>
            <a:rPr lang="en-GB" sz="1100"/>
            <a:t>Base Case</a:t>
          </a:r>
          <a:endParaRPr lang="en-US" sz="1100"/>
        </a:p>
      </dgm:t>
    </dgm:pt>
    <dgm:pt modelId="{C7595B02-CE83-4C99-99DF-49F92C9A0FD5}" type="parTrans" cxnId="{AC2F79A6-F057-42C7-BC5C-B5E5A8395B2D}">
      <dgm:prSet/>
      <dgm:spPr/>
      <dgm:t>
        <a:bodyPr/>
        <a:lstStyle/>
        <a:p>
          <a:endParaRPr lang="en-US" sz="1100"/>
        </a:p>
      </dgm:t>
    </dgm:pt>
    <dgm:pt modelId="{FB898C48-57C6-4736-9A91-6BB2B26BED7B}" type="sibTrans" cxnId="{AC2F79A6-F057-42C7-BC5C-B5E5A8395B2D}">
      <dgm:prSet/>
      <dgm:spPr/>
      <dgm:t>
        <a:bodyPr/>
        <a:lstStyle/>
        <a:p>
          <a:endParaRPr lang="en-US" sz="1100"/>
        </a:p>
      </dgm:t>
    </dgm:pt>
    <dgm:pt modelId="{7802AE32-2338-4D4E-9DE3-32F7EDDE09C6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r>
            <a:rPr lang="en-GB" sz="1050" b="0"/>
            <a:t>Work</a:t>
          </a:r>
          <a:br>
            <a:rPr lang="en-GB" sz="1050" b="0"/>
          </a:br>
          <a:r>
            <a:rPr lang="en-GB" sz="1050" b="0"/>
            <a:t>shops</a:t>
          </a:r>
          <a:endParaRPr lang="en-US" sz="1050" b="0"/>
        </a:p>
      </dgm:t>
    </dgm:pt>
    <dgm:pt modelId="{C408000C-4138-4F07-9803-21E5106C7757}" type="parTrans" cxnId="{5526E9F1-BA59-4061-B619-E23D7F75D842}">
      <dgm:prSet/>
      <dgm:spPr/>
      <dgm:t>
        <a:bodyPr/>
        <a:lstStyle/>
        <a:p>
          <a:endParaRPr lang="en-US" sz="1100"/>
        </a:p>
      </dgm:t>
    </dgm:pt>
    <dgm:pt modelId="{E4DFB339-6A53-466F-8A5D-7346E51E5BA4}" type="sibTrans" cxnId="{5526E9F1-BA59-4061-B619-E23D7F75D842}">
      <dgm:prSet/>
      <dgm:spPr/>
      <dgm:t>
        <a:bodyPr/>
        <a:lstStyle/>
        <a:p>
          <a:endParaRPr lang="en-US" sz="1100"/>
        </a:p>
      </dgm:t>
    </dgm:pt>
    <dgm:pt modelId="{679719EC-769D-40C3-8697-2E3E92129B45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r>
            <a:rPr lang="en-GB" sz="1100" b="0"/>
            <a:t>Key beliefs</a:t>
          </a:r>
          <a:endParaRPr lang="en-US" sz="1100" b="0"/>
        </a:p>
      </dgm:t>
    </dgm:pt>
    <dgm:pt modelId="{7180D742-1535-41E0-8949-640D3B85EFFF}" type="parTrans" cxnId="{E57DD0C6-DC4D-4A60-92DE-ABAE7093DF2C}">
      <dgm:prSet/>
      <dgm:spPr/>
      <dgm:t>
        <a:bodyPr/>
        <a:lstStyle/>
        <a:p>
          <a:endParaRPr lang="en-US" sz="1100"/>
        </a:p>
      </dgm:t>
    </dgm:pt>
    <dgm:pt modelId="{ACFCE74F-D953-41B0-BF11-A109AD726884}" type="sibTrans" cxnId="{E57DD0C6-DC4D-4A60-92DE-ABAE7093DF2C}">
      <dgm:prSet/>
      <dgm:spPr/>
      <dgm:t>
        <a:bodyPr/>
        <a:lstStyle/>
        <a:p>
          <a:endParaRPr lang="en-US" sz="1100"/>
        </a:p>
      </dgm:t>
    </dgm:pt>
    <dgm:pt modelId="{5EB8740A-DD43-4F41-8455-9F5524F058F6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r>
            <a:rPr lang="en-GB" sz="1100"/>
            <a:t>Model</a:t>
          </a:r>
          <a:endParaRPr lang="en-US" sz="1100"/>
        </a:p>
      </dgm:t>
    </dgm:pt>
    <dgm:pt modelId="{FFFC01E4-33BC-4D37-967B-6F1C85E13C29}" type="parTrans" cxnId="{2C5CB026-F803-4100-8F73-71CCACDDADD2}">
      <dgm:prSet/>
      <dgm:spPr/>
      <dgm:t>
        <a:bodyPr/>
        <a:lstStyle/>
        <a:p>
          <a:endParaRPr lang="en-US" sz="1100"/>
        </a:p>
      </dgm:t>
    </dgm:pt>
    <dgm:pt modelId="{E8E5496D-B408-4CC9-B3D9-6413AC0D44AC}" type="sibTrans" cxnId="{2C5CB026-F803-4100-8F73-71CCACDDADD2}">
      <dgm:prSet/>
      <dgm:spPr/>
      <dgm:t>
        <a:bodyPr/>
        <a:lstStyle/>
        <a:p>
          <a:endParaRPr lang="en-US" sz="1100"/>
        </a:p>
      </dgm:t>
    </dgm:pt>
    <dgm:pt modelId="{D013CD83-303E-4390-81D8-22073FA0ED30}" type="pres">
      <dgm:prSet presAssocID="{C91E83FC-97AC-4C6A-8D31-7974C132B76E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231ADA88-1C20-4102-9121-F8C733AB0467}" type="pres">
      <dgm:prSet presAssocID="{81FB594D-0F5B-433F-96A0-3F78DC6B4C01}" presName="Accent6" presStyleCnt="0"/>
      <dgm:spPr/>
    </dgm:pt>
    <dgm:pt modelId="{11ED2538-0A4B-4199-B69F-B3EDE5081AE2}" type="pres">
      <dgm:prSet presAssocID="{81FB594D-0F5B-433F-96A0-3F78DC6B4C01}" presName="Accent" presStyleLbl="node1" presStyleIdx="0" presStyleCnt="6"/>
      <dgm:spPr/>
    </dgm:pt>
    <dgm:pt modelId="{692C70C1-D629-470A-AD4F-442949A0FC80}" type="pres">
      <dgm:prSet presAssocID="{81FB594D-0F5B-433F-96A0-3F78DC6B4C01}" presName="ParentBackground6" presStyleCnt="0"/>
      <dgm:spPr/>
    </dgm:pt>
    <dgm:pt modelId="{1DEAA222-0707-44C1-B9F3-7852CE641D3B}" type="pres">
      <dgm:prSet presAssocID="{81FB594D-0F5B-433F-96A0-3F78DC6B4C01}" presName="ParentBackground" presStyleLbl="fgAcc1" presStyleIdx="0" presStyleCnt="6"/>
      <dgm:spPr/>
    </dgm:pt>
    <dgm:pt modelId="{038FAD85-0218-41DB-A255-C54C20BCBAE9}" type="pres">
      <dgm:prSet presAssocID="{81FB594D-0F5B-433F-96A0-3F78DC6B4C01}" presName="Parent6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EB054100-588A-4259-93DD-04559758B701}" type="pres">
      <dgm:prSet presAssocID="{9B78A21A-7823-4234-8ED4-82C0991C88C8}" presName="Accent5" presStyleCnt="0"/>
      <dgm:spPr/>
    </dgm:pt>
    <dgm:pt modelId="{EB8A46C3-46E7-4048-891B-2C6F5646598D}" type="pres">
      <dgm:prSet presAssocID="{9B78A21A-7823-4234-8ED4-82C0991C88C8}" presName="Accent" presStyleLbl="node1" presStyleIdx="1" presStyleCnt="6"/>
      <dgm:spPr>
        <a:solidFill>
          <a:schemeClr val="tx1"/>
        </a:solidFill>
      </dgm:spPr>
    </dgm:pt>
    <dgm:pt modelId="{B5D1D2D7-752C-4A43-924B-3B70618995D8}" type="pres">
      <dgm:prSet presAssocID="{9B78A21A-7823-4234-8ED4-82C0991C88C8}" presName="ParentBackground5" presStyleCnt="0"/>
      <dgm:spPr/>
    </dgm:pt>
    <dgm:pt modelId="{A38D6A35-41C1-4C8D-A147-186B70B1D2DE}" type="pres">
      <dgm:prSet presAssocID="{9B78A21A-7823-4234-8ED4-82C0991C88C8}" presName="ParentBackground" presStyleLbl="fgAcc1" presStyleIdx="1" presStyleCnt="6"/>
      <dgm:spPr/>
    </dgm:pt>
    <dgm:pt modelId="{319C5B0C-3AD0-4C50-ADBE-871E19480467}" type="pres">
      <dgm:prSet presAssocID="{9B78A21A-7823-4234-8ED4-82C0991C88C8}" presName="Parent5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010C3B64-5DD9-4656-BEC0-8341D2829BDD}" type="pres">
      <dgm:prSet presAssocID="{5EB8740A-DD43-4F41-8455-9F5524F058F6}" presName="Accent4" presStyleCnt="0"/>
      <dgm:spPr/>
    </dgm:pt>
    <dgm:pt modelId="{27FEB15B-52F4-4FE6-A8D6-83B67E669E3B}" type="pres">
      <dgm:prSet presAssocID="{5EB8740A-DD43-4F41-8455-9F5524F058F6}" presName="Accent" presStyleLbl="node1" presStyleIdx="2" presStyleCnt="6"/>
      <dgm:spPr>
        <a:solidFill>
          <a:schemeClr val="tx1"/>
        </a:solidFill>
      </dgm:spPr>
    </dgm:pt>
    <dgm:pt modelId="{E6D44D91-F704-406A-8D5E-007B2036E17A}" type="pres">
      <dgm:prSet presAssocID="{5EB8740A-DD43-4F41-8455-9F5524F058F6}" presName="ParentBackground4" presStyleCnt="0"/>
      <dgm:spPr/>
    </dgm:pt>
    <dgm:pt modelId="{2F9FE437-D4F7-42AC-AAE9-B8D4D91EB53E}" type="pres">
      <dgm:prSet presAssocID="{5EB8740A-DD43-4F41-8455-9F5524F058F6}" presName="ParentBackground" presStyleLbl="fgAcc1" presStyleIdx="2" presStyleCnt="6"/>
      <dgm:spPr/>
    </dgm:pt>
    <dgm:pt modelId="{6BDAB0B9-8CB5-41C7-AC33-87852DC7F101}" type="pres">
      <dgm:prSet presAssocID="{5EB8740A-DD43-4F41-8455-9F5524F058F6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42A7F9AD-FED1-4648-AFDE-C4BC64AF65F5}" type="pres">
      <dgm:prSet presAssocID="{679719EC-769D-40C3-8697-2E3E92129B45}" presName="Accent3" presStyleCnt="0"/>
      <dgm:spPr/>
    </dgm:pt>
    <dgm:pt modelId="{A43684CD-3A64-436D-939D-CFE5C86DCA30}" type="pres">
      <dgm:prSet presAssocID="{679719EC-769D-40C3-8697-2E3E92129B45}" presName="Accent" presStyleLbl="node1" presStyleIdx="3" presStyleCnt="6"/>
      <dgm:spPr>
        <a:solidFill>
          <a:schemeClr val="tx1"/>
        </a:solidFill>
      </dgm:spPr>
    </dgm:pt>
    <dgm:pt modelId="{6DF10170-A17A-44B7-A0BE-E8D6F6EF74E8}" type="pres">
      <dgm:prSet presAssocID="{679719EC-769D-40C3-8697-2E3E92129B45}" presName="ParentBackground3" presStyleCnt="0"/>
      <dgm:spPr/>
    </dgm:pt>
    <dgm:pt modelId="{38AEDA05-63CF-4F79-A9EA-61A481E53558}" type="pres">
      <dgm:prSet presAssocID="{679719EC-769D-40C3-8697-2E3E92129B45}" presName="ParentBackground" presStyleLbl="fgAcc1" presStyleIdx="3" presStyleCnt="6"/>
      <dgm:spPr/>
    </dgm:pt>
    <dgm:pt modelId="{0BBEC3DA-1BD4-449D-8567-3435F4DEA66A}" type="pres">
      <dgm:prSet presAssocID="{679719EC-769D-40C3-8697-2E3E92129B45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A86BD267-F2A9-4574-9C4A-CC427751C8F9}" type="pres">
      <dgm:prSet presAssocID="{7802AE32-2338-4D4E-9DE3-32F7EDDE09C6}" presName="Accent2" presStyleCnt="0"/>
      <dgm:spPr/>
    </dgm:pt>
    <dgm:pt modelId="{1CAF460C-2338-45F7-8D11-5475D8A701A3}" type="pres">
      <dgm:prSet presAssocID="{7802AE32-2338-4D4E-9DE3-32F7EDDE09C6}" presName="Accent" presStyleLbl="node1" presStyleIdx="4" presStyleCnt="6"/>
      <dgm:spPr>
        <a:solidFill>
          <a:schemeClr val="tx1"/>
        </a:solidFill>
      </dgm:spPr>
    </dgm:pt>
    <dgm:pt modelId="{8C2E68AE-3F9A-49E6-8490-1209A36A5446}" type="pres">
      <dgm:prSet presAssocID="{7802AE32-2338-4D4E-9DE3-32F7EDDE09C6}" presName="ParentBackground2" presStyleCnt="0"/>
      <dgm:spPr/>
    </dgm:pt>
    <dgm:pt modelId="{4DF7F7AD-DE83-4631-8021-367D519DBAE5}" type="pres">
      <dgm:prSet presAssocID="{7802AE32-2338-4D4E-9DE3-32F7EDDE09C6}" presName="ParentBackground" presStyleLbl="fgAcc1" presStyleIdx="4" presStyleCnt="6"/>
      <dgm:spPr/>
    </dgm:pt>
    <dgm:pt modelId="{11282831-A976-495D-A2A5-63994C96F7E0}" type="pres">
      <dgm:prSet presAssocID="{7802AE32-2338-4D4E-9DE3-32F7EDDE09C6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94948857-65DD-47DE-A63B-DEC8E9CF4C7E}" type="pres">
      <dgm:prSet presAssocID="{B4D85F55-7538-4A05-8611-EBB9E802AD61}" presName="Accent1" presStyleCnt="0"/>
      <dgm:spPr/>
    </dgm:pt>
    <dgm:pt modelId="{B1BEDA2F-DCAA-4A54-810F-D544689E82EE}" type="pres">
      <dgm:prSet presAssocID="{B4D85F55-7538-4A05-8611-EBB9E802AD61}" presName="Accent" presStyleLbl="node1" presStyleIdx="5" presStyleCnt="6"/>
      <dgm:spPr>
        <a:solidFill>
          <a:schemeClr val="tx1"/>
        </a:solidFill>
      </dgm:spPr>
    </dgm:pt>
    <dgm:pt modelId="{7B1A2CC6-F820-40E0-8ED6-9A115168198F}" type="pres">
      <dgm:prSet presAssocID="{B4D85F55-7538-4A05-8611-EBB9E802AD61}" presName="ParentBackground1" presStyleCnt="0"/>
      <dgm:spPr/>
    </dgm:pt>
    <dgm:pt modelId="{37E219D4-35F5-45B8-A920-E56A53339C4D}" type="pres">
      <dgm:prSet presAssocID="{B4D85F55-7538-4A05-8611-EBB9E802AD61}" presName="ParentBackground" presStyleLbl="fgAcc1" presStyleIdx="5" presStyleCnt="6"/>
      <dgm:spPr/>
    </dgm:pt>
    <dgm:pt modelId="{61E1AEF3-569E-4B13-AFAD-23B0FE442728}" type="pres">
      <dgm:prSet presAssocID="{B4D85F55-7538-4A05-8611-EBB9E802AD61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CED06416-CAA9-4BE0-9A46-746ADA907917}" type="presOf" srcId="{679719EC-769D-40C3-8697-2E3E92129B45}" destId="{0BBEC3DA-1BD4-449D-8567-3435F4DEA66A}" srcOrd="1" destOrd="0" presId="urn:microsoft.com/office/officeart/2011/layout/CircleProcess"/>
    <dgm:cxn modelId="{C4734222-9805-45E5-BB0E-D74F3A447FB7}" type="presOf" srcId="{81FB594D-0F5B-433F-96A0-3F78DC6B4C01}" destId="{038FAD85-0218-41DB-A255-C54C20BCBAE9}" srcOrd="1" destOrd="0" presId="urn:microsoft.com/office/officeart/2011/layout/CircleProcess"/>
    <dgm:cxn modelId="{2C5CB026-F803-4100-8F73-71CCACDDADD2}" srcId="{C91E83FC-97AC-4C6A-8D31-7974C132B76E}" destId="{5EB8740A-DD43-4F41-8455-9F5524F058F6}" srcOrd="3" destOrd="0" parTransId="{FFFC01E4-33BC-4D37-967B-6F1C85E13C29}" sibTransId="{E8E5496D-B408-4CC9-B3D9-6413AC0D44AC}"/>
    <dgm:cxn modelId="{91CFE027-0CF9-497E-86C7-E0BCA7C7EE5D}" srcId="{C91E83FC-97AC-4C6A-8D31-7974C132B76E}" destId="{9B78A21A-7823-4234-8ED4-82C0991C88C8}" srcOrd="4" destOrd="0" parTransId="{AA2AFF89-FAB6-4289-89F1-9EC5E529BC3F}" sibTransId="{CEA86671-5445-479C-9C10-0F7B5375840D}"/>
    <dgm:cxn modelId="{3E396E2A-91DF-44CA-BE61-335589245879}" type="presOf" srcId="{5EB8740A-DD43-4F41-8455-9F5524F058F6}" destId="{2F9FE437-D4F7-42AC-AAE9-B8D4D91EB53E}" srcOrd="0" destOrd="0" presId="urn:microsoft.com/office/officeart/2011/layout/CircleProcess"/>
    <dgm:cxn modelId="{47755C69-F65B-4503-8104-F80A3E3888D8}" type="presOf" srcId="{5EB8740A-DD43-4F41-8455-9F5524F058F6}" destId="{6BDAB0B9-8CB5-41C7-AC33-87852DC7F101}" srcOrd="1" destOrd="0" presId="urn:microsoft.com/office/officeart/2011/layout/CircleProcess"/>
    <dgm:cxn modelId="{0ECEBF83-F2F7-415C-838D-1B26DF04A6DE}" type="presOf" srcId="{B4D85F55-7538-4A05-8611-EBB9E802AD61}" destId="{37E219D4-35F5-45B8-A920-E56A53339C4D}" srcOrd="0" destOrd="0" presId="urn:microsoft.com/office/officeart/2011/layout/CircleProcess"/>
    <dgm:cxn modelId="{AD9AB18C-107E-4FBE-8869-280508F651AC}" type="presOf" srcId="{7802AE32-2338-4D4E-9DE3-32F7EDDE09C6}" destId="{11282831-A976-495D-A2A5-63994C96F7E0}" srcOrd="1" destOrd="0" presId="urn:microsoft.com/office/officeart/2011/layout/CircleProcess"/>
    <dgm:cxn modelId="{3045C298-57DB-420E-A4D3-5549E8539BE9}" srcId="{C91E83FC-97AC-4C6A-8D31-7974C132B76E}" destId="{B4D85F55-7538-4A05-8611-EBB9E802AD61}" srcOrd="0" destOrd="0" parTransId="{57110B7C-1C3A-48C7-A9A9-6B80CF8F0924}" sibTransId="{78150D61-5D75-4EE0-80E5-5EFF1F0381F2}"/>
    <dgm:cxn modelId="{AC2F79A6-F057-42C7-BC5C-B5E5A8395B2D}" srcId="{C91E83FC-97AC-4C6A-8D31-7974C132B76E}" destId="{81FB594D-0F5B-433F-96A0-3F78DC6B4C01}" srcOrd="5" destOrd="0" parTransId="{C7595B02-CE83-4C99-99DF-49F92C9A0FD5}" sibTransId="{FB898C48-57C6-4736-9A91-6BB2B26BED7B}"/>
    <dgm:cxn modelId="{2F0B92AF-A938-4227-999D-47BA9F102717}" type="presOf" srcId="{9B78A21A-7823-4234-8ED4-82C0991C88C8}" destId="{319C5B0C-3AD0-4C50-ADBE-871E19480467}" srcOrd="1" destOrd="0" presId="urn:microsoft.com/office/officeart/2011/layout/CircleProcess"/>
    <dgm:cxn modelId="{E57DD0C6-DC4D-4A60-92DE-ABAE7093DF2C}" srcId="{C91E83FC-97AC-4C6A-8D31-7974C132B76E}" destId="{679719EC-769D-40C3-8697-2E3E92129B45}" srcOrd="2" destOrd="0" parTransId="{7180D742-1535-41E0-8949-640D3B85EFFF}" sibTransId="{ACFCE74F-D953-41B0-BF11-A109AD726884}"/>
    <dgm:cxn modelId="{FDC53AD2-DA3D-4C29-8270-08D311B142A5}" type="presOf" srcId="{679719EC-769D-40C3-8697-2E3E92129B45}" destId="{38AEDA05-63CF-4F79-A9EA-61A481E53558}" srcOrd="0" destOrd="0" presId="urn:microsoft.com/office/officeart/2011/layout/CircleProcess"/>
    <dgm:cxn modelId="{31ADABD9-2919-431F-BE3C-FB1AE1EEF1D2}" type="presOf" srcId="{9B78A21A-7823-4234-8ED4-82C0991C88C8}" destId="{A38D6A35-41C1-4C8D-A147-186B70B1D2DE}" srcOrd="0" destOrd="0" presId="urn:microsoft.com/office/officeart/2011/layout/CircleProcess"/>
    <dgm:cxn modelId="{EF04F3E4-0D47-417B-B60A-8BC882B6BFBD}" type="presOf" srcId="{B4D85F55-7538-4A05-8611-EBB9E802AD61}" destId="{61E1AEF3-569E-4B13-AFAD-23B0FE442728}" srcOrd="1" destOrd="0" presId="urn:microsoft.com/office/officeart/2011/layout/CircleProcess"/>
    <dgm:cxn modelId="{48EB10F1-92F6-49E9-BA6D-DBADA7D475B7}" type="presOf" srcId="{7802AE32-2338-4D4E-9DE3-32F7EDDE09C6}" destId="{4DF7F7AD-DE83-4631-8021-367D519DBAE5}" srcOrd="0" destOrd="0" presId="urn:microsoft.com/office/officeart/2011/layout/CircleProcess"/>
    <dgm:cxn modelId="{5526E9F1-BA59-4061-B619-E23D7F75D842}" srcId="{C91E83FC-97AC-4C6A-8D31-7974C132B76E}" destId="{7802AE32-2338-4D4E-9DE3-32F7EDDE09C6}" srcOrd="1" destOrd="0" parTransId="{C408000C-4138-4F07-9803-21E5106C7757}" sibTransId="{E4DFB339-6A53-466F-8A5D-7346E51E5BA4}"/>
    <dgm:cxn modelId="{C550A6F8-7495-4BA5-A169-AE3F2CBCEB9A}" type="presOf" srcId="{C91E83FC-97AC-4C6A-8D31-7974C132B76E}" destId="{D013CD83-303E-4390-81D8-22073FA0ED30}" srcOrd="0" destOrd="0" presId="urn:microsoft.com/office/officeart/2011/layout/CircleProcess"/>
    <dgm:cxn modelId="{1441ADFB-EB75-4B01-BB11-9A83B2392643}" type="presOf" srcId="{81FB594D-0F5B-433F-96A0-3F78DC6B4C01}" destId="{1DEAA222-0707-44C1-B9F3-7852CE641D3B}" srcOrd="0" destOrd="0" presId="urn:microsoft.com/office/officeart/2011/layout/CircleProcess"/>
    <dgm:cxn modelId="{1FEEA0F4-9F0B-4F84-869D-F2066357C52D}" type="presParOf" srcId="{D013CD83-303E-4390-81D8-22073FA0ED30}" destId="{231ADA88-1C20-4102-9121-F8C733AB0467}" srcOrd="0" destOrd="0" presId="urn:microsoft.com/office/officeart/2011/layout/CircleProcess"/>
    <dgm:cxn modelId="{6F3A5ABD-D456-419A-9C04-60F075D76CB3}" type="presParOf" srcId="{231ADA88-1C20-4102-9121-F8C733AB0467}" destId="{11ED2538-0A4B-4199-B69F-B3EDE5081AE2}" srcOrd="0" destOrd="0" presId="urn:microsoft.com/office/officeart/2011/layout/CircleProcess"/>
    <dgm:cxn modelId="{A76CEBD0-6533-402A-82CC-D5BDA7A00219}" type="presParOf" srcId="{D013CD83-303E-4390-81D8-22073FA0ED30}" destId="{692C70C1-D629-470A-AD4F-442949A0FC80}" srcOrd="1" destOrd="0" presId="urn:microsoft.com/office/officeart/2011/layout/CircleProcess"/>
    <dgm:cxn modelId="{741F713B-5BD4-4BA1-8A5A-318AE88E42F2}" type="presParOf" srcId="{692C70C1-D629-470A-AD4F-442949A0FC80}" destId="{1DEAA222-0707-44C1-B9F3-7852CE641D3B}" srcOrd="0" destOrd="0" presId="urn:microsoft.com/office/officeart/2011/layout/CircleProcess"/>
    <dgm:cxn modelId="{B5A477D4-C7A5-4D48-898D-F74D1234ECB8}" type="presParOf" srcId="{D013CD83-303E-4390-81D8-22073FA0ED30}" destId="{038FAD85-0218-41DB-A255-C54C20BCBAE9}" srcOrd="2" destOrd="0" presId="urn:microsoft.com/office/officeart/2011/layout/CircleProcess"/>
    <dgm:cxn modelId="{6014A637-236E-4FD0-BEE1-F2C04B94A6FD}" type="presParOf" srcId="{D013CD83-303E-4390-81D8-22073FA0ED30}" destId="{EB054100-588A-4259-93DD-04559758B701}" srcOrd="3" destOrd="0" presId="urn:microsoft.com/office/officeart/2011/layout/CircleProcess"/>
    <dgm:cxn modelId="{EA54FA58-B922-4783-9B53-FD4C3BCFB359}" type="presParOf" srcId="{EB054100-588A-4259-93DD-04559758B701}" destId="{EB8A46C3-46E7-4048-891B-2C6F5646598D}" srcOrd="0" destOrd="0" presId="urn:microsoft.com/office/officeart/2011/layout/CircleProcess"/>
    <dgm:cxn modelId="{DBC7742C-45CC-420F-BD2A-B63C7DA30DBD}" type="presParOf" srcId="{D013CD83-303E-4390-81D8-22073FA0ED30}" destId="{B5D1D2D7-752C-4A43-924B-3B70618995D8}" srcOrd="4" destOrd="0" presId="urn:microsoft.com/office/officeart/2011/layout/CircleProcess"/>
    <dgm:cxn modelId="{F813A25A-CF72-4757-A163-1F77137DDBF0}" type="presParOf" srcId="{B5D1D2D7-752C-4A43-924B-3B70618995D8}" destId="{A38D6A35-41C1-4C8D-A147-186B70B1D2DE}" srcOrd="0" destOrd="0" presId="urn:microsoft.com/office/officeart/2011/layout/CircleProcess"/>
    <dgm:cxn modelId="{B9C82321-8034-4CFE-B43F-3C895CD849C4}" type="presParOf" srcId="{D013CD83-303E-4390-81D8-22073FA0ED30}" destId="{319C5B0C-3AD0-4C50-ADBE-871E19480467}" srcOrd="5" destOrd="0" presId="urn:microsoft.com/office/officeart/2011/layout/CircleProcess"/>
    <dgm:cxn modelId="{EEAEBE6A-18B9-4781-B389-700F0D74EA4B}" type="presParOf" srcId="{D013CD83-303E-4390-81D8-22073FA0ED30}" destId="{010C3B64-5DD9-4656-BEC0-8341D2829BDD}" srcOrd="6" destOrd="0" presId="urn:microsoft.com/office/officeart/2011/layout/CircleProcess"/>
    <dgm:cxn modelId="{37318865-121A-407A-ABDD-42BC380C0234}" type="presParOf" srcId="{010C3B64-5DD9-4656-BEC0-8341D2829BDD}" destId="{27FEB15B-52F4-4FE6-A8D6-83B67E669E3B}" srcOrd="0" destOrd="0" presId="urn:microsoft.com/office/officeart/2011/layout/CircleProcess"/>
    <dgm:cxn modelId="{6152CB8D-801A-4447-85EB-14F5D4E42D6E}" type="presParOf" srcId="{D013CD83-303E-4390-81D8-22073FA0ED30}" destId="{E6D44D91-F704-406A-8D5E-007B2036E17A}" srcOrd="7" destOrd="0" presId="urn:microsoft.com/office/officeart/2011/layout/CircleProcess"/>
    <dgm:cxn modelId="{1C1CE2B1-20AC-4FFB-AEC4-4B4E2C71F91E}" type="presParOf" srcId="{E6D44D91-F704-406A-8D5E-007B2036E17A}" destId="{2F9FE437-D4F7-42AC-AAE9-B8D4D91EB53E}" srcOrd="0" destOrd="0" presId="urn:microsoft.com/office/officeart/2011/layout/CircleProcess"/>
    <dgm:cxn modelId="{68F19244-5381-4ECB-B6B2-62800CD91C42}" type="presParOf" srcId="{D013CD83-303E-4390-81D8-22073FA0ED30}" destId="{6BDAB0B9-8CB5-41C7-AC33-87852DC7F101}" srcOrd="8" destOrd="0" presId="urn:microsoft.com/office/officeart/2011/layout/CircleProcess"/>
    <dgm:cxn modelId="{CD79214F-616A-48DA-AC20-197049A3B1E3}" type="presParOf" srcId="{D013CD83-303E-4390-81D8-22073FA0ED30}" destId="{42A7F9AD-FED1-4648-AFDE-C4BC64AF65F5}" srcOrd="9" destOrd="0" presId="urn:microsoft.com/office/officeart/2011/layout/CircleProcess"/>
    <dgm:cxn modelId="{903D0CCF-0CEE-4A30-A011-B1692336028B}" type="presParOf" srcId="{42A7F9AD-FED1-4648-AFDE-C4BC64AF65F5}" destId="{A43684CD-3A64-436D-939D-CFE5C86DCA30}" srcOrd="0" destOrd="0" presId="urn:microsoft.com/office/officeart/2011/layout/CircleProcess"/>
    <dgm:cxn modelId="{F98E3D9F-CBC6-478B-B36A-2A3D65D9F98E}" type="presParOf" srcId="{D013CD83-303E-4390-81D8-22073FA0ED30}" destId="{6DF10170-A17A-44B7-A0BE-E8D6F6EF74E8}" srcOrd="10" destOrd="0" presId="urn:microsoft.com/office/officeart/2011/layout/CircleProcess"/>
    <dgm:cxn modelId="{58B5FFAA-BC1B-478E-A699-F421D9A09432}" type="presParOf" srcId="{6DF10170-A17A-44B7-A0BE-E8D6F6EF74E8}" destId="{38AEDA05-63CF-4F79-A9EA-61A481E53558}" srcOrd="0" destOrd="0" presId="urn:microsoft.com/office/officeart/2011/layout/CircleProcess"/>
    <dgm:cxn modelId="{7A3C846F-EE39-4A86-A784-15C8AD9103AD}" type="presParOf" srcId="{D013CD83-303E-4390-81D8-22073FA0ED30}" destId="{0BBEC3DA-1BD4-449D-8567-3435F4DEA66A}" srcOrd="11" destOrd="0" presId="urn:microsoft.com/office/officeart/2011/layout/CircleProcess"/>
    <dgm:cxn modelId="{409D156D-0EF2-478E-B636-9AC3D2F30F78}" type="presParOf" srcId="{D013CD83-303E-4390-81D8-22073FA0ED30}" destId="{A86BD267-F2A9-4574-9C4A-CC427751C8F9}" srcOrd="12" destOrd="0" presId="urn:microsoft.com/office/officeart/2011/layout/CircleProcess"/>
    <dgm:cxn modelId="{10B53232-FEEA-4D95-8859-42722CF19F7A}" type="presParOf" srcId="{A86BD267-F2A9-4574-9C4A-CC427751C8F9}" destId="{1CAF460C-2338-45F7-8D11-5475D8A701A3}" srcOrd="0" destOrd="0" presId="urn:microsoft.com/office/officeart/2011/layout/CircleProcess"/>
    <dgm:cxn modelId="{A4571BDA-68D8-4AF6-9AF5-74120A3C1439}" type="presParOf" srcId="{D013CD83-303E-4390-81D8-22073FA0ED30}" destId="{8C2E68AE-3F9A-49E6-8490-1209A36A5446}" srcOrd="13" destOrd="0" presId="urn:microsoft.com/office/officeart/2011/layout/CircleProcess"/>
    <dgm:cxn modelId="{D622A5ED-D50B-443B-AFE5-D51386B6F5B1}" type="presParOf" srcId="{8C2E68AE-3F9A-49E6-8490-1209A36A5446}" destId="{4DF7F7AD-DE83-4631-8021-367D519DBAE5}" srcOrd="0" destOrd="0" presId="urn:microsoft.com/office/officeart/2011/layout/CircleProcess"/>
    <dgm:cxn modelId="{421E7105-3B48-4B40-AEED-6D771E1CFD41}" type="presParOf" srcId="{D013CD83-303E-4390-81D8-22073FA0ED30}" destId="{11282831-A976-495D-A2A5-63994C96F7E0}" srcOrd="14" destOrd="0" presId="urn:microsoft.com/office/officeart/2011/layout/CircleProcess"/>
    <dgm:cxn modelId="{7ECA1793-085F-4B7C-A379-9C93B427FB14}" type="presParOf" srcId="{D013CD83-303E-4390-81D8-22073FA0ED30}" destId="{94948857-65DD-47DE-A63B-DEC8E9CF4C7E}" srcOrd="15" destOrd="0" presId="urn:microsoft.com/office/officeart/2011/layout/CircleProcess"/>
    <dgm:cxn modelId="{FBA1C833-ED1F-4177-8993-2E4D487ABE26}" type="presParOf" srcId="{94948857-65DD-47DE-A63B-DEC8E9CF4C7E}" destId="{B1BEDA2F-DCAA-4A54-810F-D544689E82EE}" srcOrd="0" destOrd="0" presId="urn:microsoft.com/office/officeart/2011/layout/CircleProcess"/>
    <dgm:cxn modelId="{CB23684E-D665-4861-B47D-1BBF2BCEB3F6}" type="presParOf" srcId="{D013CD83-303E-4390-81D8-22073FA0ED30}" destId="{7B1A2CC6-F820-40E0-8ED6-9A115168198F}" srcOrd="16" destOrd="0" presId="urn:microsoft.com/office/officeart/2011/layout/CircleProcess"/>
    <dgm:cxn modelId="{5748F6B3-B69D-44DD-8B63-29AD51A20824}" type="presParOf" srcId="{7B1A2CC6-F820-40E0-8ED6-9A115168198F}" destId="{37E219D4-35F5-45B8-A920-E56A53339C4D}" srcOrd="0" destOrd="0" presId="urn:microsoft.com/office/officeart/2011/layout/CircleProcess"/>
    <dgm:cxn modelId="{DFBC4BCA-967F-4DA7-813A-BCE69AF57D44}" type="presParOf" srcId="{D013CD83-303E-4390-81D8-22073FA0ED30}" destId="{61E1AEF3-569E-4B13-AFAD-23B0FE442728}" srcOrd="17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62D4D94-D8C1-4F3F-9D5A-0D51DE6A612B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</dgm:pt>
    <dgm:pt modelId="{1C09EE0F-E582-4841-AE3C-BE82F7D28261}">
      <dgm:prSet phldrT="[Text]" custT="1"/>
      <dgm:spPr/>
      <dgm:t>
        <a:bodyPr/>
        <a:lstStyle/>
        <a:p>
          <a:r>
            <a:rPr lang="en-GB" sz="900" b="0" dirty="0">
              <a:latin typeface="Arial" charset="0"/>
              <a:ea typeface="ＭＳ Ｐゴシック" pitchFamily="48" charset="-128"/>
            </a:rPr>
            <a:t>SECURITY OF SUPPLY</a:t>
          </a:r>
          <a:endParaRPr lang="en-US" sz="900" dirty="0"/>
        </a:p>
      </dgm:t>
    </dgm:pt>
    <dgm:pt modelId="{1A4CCA77-AABA-4497-A84A-4E3B7A14EBD9}" type="parTrans" cxnId="{3FD3213C-CB4E-4F0F-9DDD-0909D29AB510}">
      <dgm:prSet/>
      <dgm:spPr/>
      <dgm:t>
        <a:bodyPr/>
        <a:lstStyle/>
        <a:p>
          <a:endParaRPr lang="en-US" sz="600">
            <a:solidFill>
              <a:schemeClr val="bg1"/>
            </a:solidFill>
          </a:endParaRPr>
        </a:p>
      </dgm:t>
    </dgm:pt>
    <dgm:pt modelId="{C615B9FE-CFD9-45C5-A6F3-F10F0DE2D58F}" type="sibTrans" cxnId="{3FD3213C-CB4E-4F0F-9DDD-0909D29AB510}">
      <dgm:prSet/>
      <dgm:spPr/>
      <dgm:t>
        <a:bodyPr/>
        <a:lstStyle/>
        <a:p>
          <a:endParaRPr lang="en-US" sz="600">
            <a:solidFill>
              <a:schemeClr val="bg1"/>
            </a:solidFill>
          </a:endParaRPr>
        </a:p>
      </dgm:t>
    </dgm:pt>
    <dgm:pt modelId="{2702AEB3-5965-46A2-93A7-6C3CFD6533B7}">
      <dgm:prSet phldrT="[Text]" custT="1"/>
      <dgm:spPr/>
      <dgm:t>
        <a:bodyPr/>
        <a:lstStyle/>
        <a:p>
          <a:pPr algn="l"/>
          <a:r>
            <a:rPr lang="en-US" sz="900" b="0" dirty="0">
              <a:latin typeface="Arial" charset="0"/>
              <a:ea typeface="ＭＳ Ｐゴシック" pitchFamily="48" charset="-128"/>
            </a:rPr>
            <a:t>AFFORDABILITY</a:t>
          </a:r>
          <a:endParaRPr lang="en-US" sz="900" dirty="0"/>
        </a:p>
      </dgm:t>
    </dgm:pt>
    <dgm:pt modelId="{A3CC3FD4-A28E-4DEB-83C6-ECA37B1B177A}" type="parTrans" cxnId="{228B07EB-8DFE-4E2F-879C-5D6401634AB9}">
      <dgm:prSet/>
      <dgm:spPr/>
      <dgm:t>
        <a:bodyPr/>
        <a:lstStyle/>
        <a:p>
          <a:endParaRPr lang="en-US" sz="600">
            <a:solidFill>
              <a:schemeClr val="bg1"/>
            </a:solidFill>
          </a:endParaRPr>
        </a:p>
      </dgm:t>
    </dgm:pt>
    <dgm:pt modelId="{E17C8056-4517-40A0-B570-EC7512C97C4D}" type="sibTrans" cxnId="{228B07EB-8DFE-4E2F-879C-5D6401634AB9}">
      <dgm:prSet/>
      <dgm:spPr/>
      <dgm:t>
        <a:bodyPr/>
        <a:lstStyle/>
        <a:p>
          <a:endParaRPr lang="en-US" sz="600">
            <a:solidFill>
              <a:schemeClr val="bg1"/>
            </a:solidFill>
          </a:endParaRPr>
        </a:p>
      </dgm:t>
    </dgm:pt>
    <dgm:pt modelId="{ADB88EBE-D284-4180-9B95-F7A4BC932AA7}">
      <dgm:prSet phldrT="[Text]" custT="1"/>
      <dgm:spPr/>
      <dgm:t>
        <a:bodyPr/>
        <a:lstStyle/>
        <a:p>
          <a:pPr>
            <a:buClrTx/>
          </a:pPr>
          <a:r>
            <a:rPr lang="en-US" sz="900" b="0" dirty="0">
              <a:latin typeface="Arial" charset="0"/>
              <a:ea typeface="ＭＳ Ｐゴシック" pitchFamily="48" charset="-128"/>
            </a:rPr>
            <a:t>SUSTAINABILITY</a:t>
          </a:r>
          <a:endParaRPr lang="en-US" sz="900" dirty="0"/>
        </a:p>
      </dgm:t>
    </dgm:pt>
    <dgm:pt modelId="{157102D7-7640-405C-B52D-E03808CFE682}" type="sibTrans" cxnId="{2EAB966A-0D02-4126-917E-7E3BFCB254A3}">
      <dgm:prSet/>
      <dgm:spPr/>
      <dgm:t>
        <a:bodyPr/>
        <a:lstStyle/>
        <a:p>
          <a:endParaRPr lang="en-US" sz="600">
            <a:solidFill>
              <a:schemeClr val="bg1"/>
            </a:solidFill>
          </a:endParaRPr>
        </a:p>
      </dgm:t>
    </dgm:pt>
    <dgm:pt modelId="{47D0411A-B435-446C-A30B-000038D758EA}" type="parTrans" cxnId="{2EAB966A-0D02-4126-917E-7E3BFCB254A3}">
      <dgm:prSet/>
      <dgm:spPr/>
      <dgm:t>
        <a:bodyPr/>
        <a:lstStyle/>
        <a:p>
          <a:endParaRPr lang="en-US" sz="600">
            <a:solidFill>
              <a:schemeClr val="bg1"/>
            </a:solidFill>
          </a:endParaRPr>
        </a:p>
      </dgm:t>
    </dgm:pt>
    <dgm:pt modelId="{56D248FB-C7EE-483A-B116-71F7677122DA}" type="pres">
      <dgm:prSet presAssocID="{462D4D94-D8C1-4F3F-9D5A-0D51DE6A612B}" presName="compositeShape" presStyleCnt="0">
        <dgm:presLayoutVars>
          <dgm:chMax val="7"/>
          <dgm:dir/>
          <dgm:resizeHandles val="exact"/>
        </dgm:presLayoutVars>
      </dgm:prSet>
      <dgm:spPr/>
    </dgm:pt>
    <dgm:pt modelId="{A1B864B9-CF07-4795-BFCE-9BCCC2928D27}" type="pres">
      <dgm:prSet presAssocID="{462D4D94-D8C1-4F3F-9D5A-0D51DE6A612B}" presName="wedge1" presStyleLbl="node1" presStyleIdx="0" presStyleCnt="3"/>
      <dgm:spPr/>
    </dgm:pt>
    <dgm:pt modelId="{0B75E1A9-4D50-4E16-AD25-E824B67861F0}" type="pres">
      <dgm:prSet presAssocID="{462D4D94-D8C1-4F3F-9D5A-0D51DE6A612B}" presName="dummy1a" presStyleCnt="0"/>
      <dgm:spPr/>
    </dgm:pt>
    <dgm:pt modelId="{4D69597A-8D6F-4B50-89B6-FC62B0FE88C6}" type="pres">
      <dgm:prSet presAssocID="{462D4D94-D8C1-4F3F-9D5A-0D51DE6A612B}" presName="dummy1b" presStyleCnt="0"/>
      <dgm:spPr/>
    </dgm:pt>
    <dgm:pt modelId="{0D2B9C31-6C9C-4E51-9867-B47BC97AA25A}" type="pres">
      <dgm:prSet presAssocID="{462D4D94-D8C1-4F3F-9D5A-0D51DE6A612B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EA18183C-1830-46AF-B3F5-35950A8EEB84}" type="pres">
      <dgm:prSet presAssocID="{462D4D94-D8C1-4F3F-9D5A-0D51DE6A612B}" presName="wedge2" presStyleLbl="node1" presStyleIdx="1" presStyleCnt="3"/>
      <dgm:spPr/>
    </dgm:pt>
    <dgm:pt modelId="{3E5E87E4-FA51-49B1-AD1A-43FFC32D2E9F}" type="pres">
      <dgm:prSet presAssocID="{462D4D94-D8C1-4F3F-9D5A-0D51DE6A612B}" presName="dummy2a" presStyleCnt="0"/>
      <dgm:spPr/>
    </dgm:pt>
    <dgm:pt modelId="{DB299E35-7474-4F16-8C0C-C05D4F9769D9}" type="pres">
      <dgm:prSet presAssocID="{462D4D94-D8C1-4F3F-9D5A-0D51DE6A612B}" presName="dummy2b" presStyleCnt="0"/>
      <dgm:spPr/>
    </dgm:pt>
    <dgm:pt modelId="{47D84999-3F8F-4510-92A0-B5894214EE02}" type="pres">
      <dgm:prSet presAssocID="{462D4D94-D8C1-4F3F-9D5A-0D51DE6A612B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9A216659-277D-4B76-9F1C-BD5CF1EF60FE}" type="pres">
      <dgm:prSet presAssocID="{462D4D94-D8C1-4F3F-9D5A-0D51DE6A612B}" presName="wedge3" presStyleLbl="node1" presStyleIdx="2" presStyleCnt="3"/>
      <dgm:spPr/>
    </dgm:pt>
    <dgm:pt modelId="{91D46891-F529-4B91-B805-4E7B983E42A4}" type="pres">
      <dgm:prSet presAssocID="{462D4D94-D8C1-4F3F-9D5A-0D51DE6A612B}" presName="dummy3a" presStyleCnt="0"/>
      <dgm:spPr/>
    </dgm:pt>
    <dgm:pt modelId="{FD403263-E917-411E-A403-C314A9891BD7}" type="pres">
      <dgm:prSet presAssocID="{462D4D94-D8C1-4F3F-9D5A-0D51DE6A612B}" presName="dummy3b" presStyleCnt="0"/>
      <dgm:spPr/>
    </dgm:pt>
    <dgm:pt modelId="{4F7147B1-6760-44F1-AC0C-91D3210ECA2E}" type="pres">
      <dgm:prSet presAssocID="{462D4D94-D8C1-4F3F-9D5A-0D51DE6A612B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58CF5617-79CE-4570-842E-3C6DA0839E65}" type="pres">
      <dgm:prSet presAssocID="{C615B9FE-CFD9-45C5-A6F3-F10F0DE2D58F}" presName="arrowWedge1" presStyleLbl="fgSibTrans2D1" presStyleIdx="0" presStyleCnt="3" custLinFactNeighborX="1583" custLinFactNeighborY="994"/>
      <dgm:spPr/>
    </dgm:pt>
    <dgm:pt modelId="{9BA2E471-F5AF-4FC9-B795-594F0A039B18}" type="pres">
      <dgm:prSet presAssocID="{157102D7-7640-405C-B52D-E03808CFE682}" presName="arrowWedge2" presStyleLbl="fgSibTrans2D1" presStyleIdx="1" presStyleCnt="3"/>
      <dgm:spPr/>
    </dgm:pt>
    <dgm:pt modelId="{121C5ACE-45F6-4D42-B99A-61A311B2F57F}" type="pres">
      <dgm:prSet presAssocID="{E17C8056-4517-40A0-B570-EC7512C97C4D}" presName="arrowWedge3" presStyleLbl="fgSibTrans2D1" presStyleIdx="2" presStyleCnt="3"/>
      <dgm:spPr/>
    </dgm:pt>
  </dgm:ptLst>
  <dgm:cxnLst>
    <dgm:cxn modelId="{1E3ED613-A80E-451C-A6CD-CB2AF0EBEAC5}" type="presOf" srcId="{2702AEB3-5965-46A2-93A7-6C3CFD6533B7}" destId="{4F7147B1-6760-44F1-AC0C-91D3210ECA2E}" srcOrd="1" destOrd="0" presId="urn:microsoft.com/office/officeart/2005/8/layout/cycle8"/>
    <dgm:cxn modelId="{28927233-68D0-49AB-A67D-93A4B9EDFCB8}" type="presOf" srcId="{ADB88EBE-D284-4180-9B95-F7A4BC932AA7}" destId="{47D84999-3F8F-4510-92A0-B5894214EE02}" srcOrd="1" destOrd="0" presId="urn:microsoft.com/office/officeart/2005/8/layout/cycle8"/>
    <dgm:cxn modelId="{3FD3213C-CB4E-4F0F-9DDD-0909D29AB510}" srcId="{462D4D94-D8C1-4F3F-9D5A-0D51DE6A612B}" destId="{1C09EE0F-E582-4841-AE3C-BE82F7D28261}" srcOrd="0" destOrd="0" parTransId="{1A4CCA77-AABA-4497-A84A-4E3B7A14EBD9}" sibTransId="{C615B9FE-CFD9-45C5-A6F3-F10F0DE2D58F}"/>
    <dgm:cxn modelId="{220C8A43-9683-4756-8AF8-EBA2094ACDB1}" type="presOf" srcId="{2702AEB3-5965-46A2-93A7-6C3CFD6533B7}" destId="{9A216659-277D-4B76-9F1C-BD5CF1EF60FE}" srcOrd="0" destOrd="0" presId="urn:microsoft.com/office/officeart/2005/8/layout/cycle8"/>
    <dgm:cxn modelId="{CAC38C48-C22F-4BC2-A8DA-F42305BEA1D0}" type="presOf" srcId="{462D4D94-D8C1-4F3F-9D5A-0D51DE6A612B}" destId="{56D248FB-C7EE-483A-B116-71F7677122DA}" srcOrd="0" destOrd="0" presId="urn:microsoft.com/office/officeart/2005/8/layout/cycle8"/>
    <dgm:cxn modelId="{2EAB966A-0D02-4126-917E-7E3BFCB254A3}" srcId="{462D4D94-D8C1-4F3F-9D5A-0D51DE6A612B}" destId="{ADB88EBE-D284-4180-9B95-F7A4BC932AA7}" srcOrd="1" destOrd="0" parTransId="{47D0411A-B435-446C-A30B-000038D758EA}" sibTransId="{157102D7-7640-405C-B52D-E03808CFE682}"/>
    <dgm:cxn modelId="{268F9D4C-1B73-48F0-8C31-FF8A5597CAA9}" type="presOf" srcId="{1C09EE0F-E582-4841-AE3C-BE82F7D28261}" destId="{A1B864B9-CF07-4795-BFCE-9BCCC2928D27}" srcOrd="0" destOrd="0" presId="urn:microsoft.com/office/officeart/2005/8/layout/cycle8"/>
    <dgm:cxn modelId="{D8662F53-0FF5-4C37-80DE-6CA05C242227}" type="presOf" srcId="{ADB88EBE-D284-4180-9B95-F7A4BC932AA7}" destId="{EA18183C-1830-46AF-B3F5-35950A8EEB84}" srcOrd="0" destOrd="0" presId="urn:microsoft.com/office/officeart/2005/8/layout/cycle8"/>
    <dgm:cxn modelId="{228B07EB-8DFE-4E2F-879C-5D6401634AB9}" srcId="{462D4D94-D8C1-4F3F-9D5A-0D51DE6A612B}" destId="{2702AEB3-5965-46A2-93A7-6C3CFD6533B7}" srcOrd="2" destOrd="0" parTransId="{A3CC3FD4-A28E-4DEB-83C6-ECA37B1B177A}" sibTransId="{E17C8056-4517-40A0-B570-EC7512C97C4D}"/>
    <dgm:cxn modelId="{5F57C5FC-87BC-4AB1-9FED-F5FCB5382246}" type="presOf" srcId="{1C09EE0F-E582-4841-AE3C-BE82F7D28261}" destId="{0D2B9C31-6C9C-4E51-9867-B47BC97AA25A}" srcOrd="1" destOrd="0" presId="urn:microsoft.com/office/officeart/2005/8/layout/cycle8"/>
    <dgm:cxn modelId="{4A19B6F1-B294-4204-A08A-E4C304869943}" type="presParOf" srcId="{56D248FB-C7EE-483A-B116-71F7677122DA}" destId="{A1B864B9-CF07-4795-BFCE-9BCCC2928D27}" srcOrd="0" destOrd="0" presId="urn:microsoft.com/office/officeart/2005/8/layout/cycle8"/>
    <dgm:cxn modelId="{C8C1CA66-EA88-485D-A305-44FD645964A3}" type="presParOf" srcId="{56D248FB-C7EE-483A-B116-71F7677122DA}" destId="{0B75E1A9-4D50-4E16-AD25-E824B67861F0}" srcOrd="1" destOrd="0" presId="urn:microsoft.com/office/officeart/2005/8/layout/cycle8"/>
    <dgm:cxn modelId="{D3BB9DD1-1063-4059-BADA-F9E41D64B719}" type="presParOf" srcId="{56D248FB-C7EE-483A-B116-71F7677122DA}" destId="{4D69597A-8D6F-4B50-89B6-FC62B0FE88C6}" srcOrd="2" destOrd="0" presId="urn:microsoft.com/office/officeart/2005/8/layout/cycle8"/>
    <dgm:cxn modelId="{A49D0A58-B0F3-4CD2-BBBF-C1EB35FE0357}" type="presParOf" srcId="{56D248FB-C7EE-483A-B116-71F7677122DA}" destId="{0D2B9C31-6C9C-4E51-9867-B47BC97AA25A}" srcOrd="3" destOrd="0" presId="urn:microsoft.com/office/officeart/2005/8/layout/cycle8"/>
    <dgm:cxn modelId="{F0F5AC0D-892C-4BEE-A600-68D6E0FFE4CD}" type="presParOf" srcId="{56D248FB-C7EE-483A-B116-71F7677122DA}" destId="{EA18183C-1830-46AF-B3F5-35950A8EEB84}" srcOrd="4" destOrd="0" presId="urn:microsoft.com/office/officeart/2005/8/layout/cycle8"/>
    <dgm:cxn modelId="{8305399E-ED70-4848-9830-E3C772A44A09}" type="presParOf" srcId="{56D248FB-C7EE-483A-B116-71F7677122DA}" destId="{3E5E87E4-FA51-49B1-AD1A-43FFC32D2E9F}" srcOrd="5" destOrd="0" presId="urn:microsoft.com/office/officeart/2005/8/layout/cycle8"/>
    <dgm:cxn modelId="{6CB55260-87D0-4426-A983-AC451BDA26A6}" type="presParOf" srcId="{56D248FB-C7EE-483A-B116-71F7677122DA}" destId="{DB299E35-7474-4F16-8C0C-C05D4F9769D9}" srcOrd="6" destOrd="0" presId="urn:microsoft.com/office/officeart/2005/8/layout/cycle8"/>
    <dgm:cxn modelId="{6ACE9E34-C8FC-4B65-A588-B75DD4994A6A}" type="presParOf" srcId="{56D248FB-C7EE-483A-B116-71F7677122DA}" destId="{47D84999-3F8F-4510-92A0-B5894214EE02}" srcOrd="7" destOrd="0" presId="urn:microsoft.com/office/officeart/2005/8/layout/cycle8"/>
    <dgm:cxn modelId="{61E29F41-85FF-4B29-867B-244FC368BD56}" type="presParOf" srcId="{56D248FB-C7EE-483A-B116-71F7677122DA}" destId="{9A216659-277D-4B76-9F1C-BD5CF1EF60FE}" srcOrd="8" destOrd="0" presId="urn:microsoft.com/office/officeart/2005/8/layout/cycle8"/>
    <dgm:cxn modelId="{C4100658-754A-4BFF-A845-545D3B302B8F}" type="presParOf" srcId="{56D248FB-C7EE-483A-B116-71F7677122DA}" destId="{91D46891-F529-4B91-B805-4E7B983E42A4}" srcOrd="9" destOrd="0" presId="urn:microsoft.com/office/officeart/2005/8/layout/cycle8"/>
    <dgm:cxn modelId="{4BBFD0FB-9864-4A77-B2B4-4DEA5FC49FA6}" type="presParOf" srcId="{56D248FB-C7EE-483A-B116-71F7677122DA}" destId="{FD403263-E917-411E-A403-C314A9891BD7}" srcOrd="10" destOrd="0" presId="urn:microsoft.com/office/officeart/2005/8/layout/cycle8"/>
    <dgm:cxn modelId="{14FB7C3A-D3A1-4A01-9C11-A89FD13319BC}" type="presParOf" srcId="{56D248FB-C7EE-483A-B116-71F7677122DA}" destId="{4F7147B1-6760-44F1-AC0C-91D3210ECA2E}" srcOrd="11" destOrd="0" presId="urn:microsoft.com/office/officeart/2005/8/layout/cycle8"/>
    <dgm:cxn modelId="{C4EEB4CA-F680-4E1F-82C6-B23BC0FD0EF4}" type="presParOf" srcId="{56D248FB-C7EE-483A-B116-71F7677122DA}" destId="{58CF5617-79CE-4570-842E-3C6DA0839E65}" srcOrd="12" destOrd="0" presId="urn:microsoft.com/office/officeart/2005/8/layout/cycle8"/>
    <dgm:cxn modelId="{8AA16514-F465-4BB5-A354-305C067A1135}" type="presParOf" srcId="{56D248FB-C7EE-483A-B116-71F7677122DA}" destId="{9BA2E471-F5AF-4FC9-B795-594F0A039B18}" srcOrd="13" destOrd="0" presId="urn:microsoft.com/office/officeart/2005/8/layout/cycle8"/>
    <dgm:cxn modelId="{F64F1D14-FE7F-4DEE-BFB1-03A9E1D2FC75}" type="presParOf" srcId="{56D248FB-C7EE-483A-B116-71F7677122DA}" destId="{121C5ACE-45F6-4D42-B99A-61A311B2F57F}" srcOrd="14" destOrd="0" presId="urn:microsoft.com/office/officeart/2005/8/layout/cycle8"/>
  </dgm:cxnLst>
  <dgm:bg>
    <a:noFill/>
  </dgm:bg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DCF268D-B5C9-4BAB-A035-1B548A3071C1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B78EDCFC-3327-4B43-888E-D782CBFE7585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1400" dirty="0"/>
            <a:t>Project Kick-off</a:t>
          </a:r>
        </a:p>
      </dgm:t>
    </dgm:pt>
    <dgm:pt modelId="{CAD11A9B-663F-4DB8-8073-95A230EE4CAD}" type="parTrans" cxnId="{58B80712-61D6-4E40-A087-DE1C2DFABD53}">
      <dgm:prSet/>
      <dgm:spPr/>
      <dgm:t>
        <a:bodyPr/>
        <a:lstStyle/>
        <a:p>
          <a:endParaRPr lang="en-GB" sz="1400"/>
        </a:p>
      </dgm:t>
    </dgm:pt>
    <dgm:pt modelId="{75121DDF-17E5-458E-B033-E7A4E7902399}" type="sibTrans" cxnId="{58B80712-61D6-4E40-A087-DE1C2DFABD53}">
      <dgm:prSet/>
      <dgm:spPr/>
      <dgm:t>
        <a:bodyPr/>
        <a:lstStyle/>
        <a:p>
          <a:endParaRPr lang="en-GB" sz="1400"/>
        </a:p>
      </dgm:t>
    </dgm:pt>
    <dgm:pt modelId="{DF3C28D4-F4C2-454F-B3B9-B30718FCC64B}">
      <dgm:prSet phldrT="[Text]" custT="1"/>
      <dgm:spPr>
        <a:solidFill>
          <a:schemeClr val="accent2"/>
        </a:solidFill>
      </dgm:spPr>
      <dgm:t>
        <a:bodyPr/>
        <a:lstStyle/>
        <a:p>
          <a:pPr rtl="0"/>
          <a:r>
            <a:rPr lang="en-GB" sz="1400" dirty="0">
              <a:solidFill>
                <a:schemeClr val="bg1"/>
              </a:solidFill>
            </a:rPr>
            <a:t>Student Engagement</a:t>
          </a:r>
          <a:r>
            <a:rPr lang="en-GB" sz="1400" dirty="0">
              <a:solidFill>
                <a:schemeClr val="bg1"/>
              </a:solidFill>
              <a:latin typeface="Arial"/>
              <a:ea typeface="ＭＳ Ｐゴシック"/>
            </a:rPr>
            <a:t> </a:t>
          </a:r>
          <a:endParaRPr lang="en-GB" sz="1400" dirty="0">
            <a:solidFill>
              <a:schemeClr val="bg1"/>
            </a:solidFill>
          </a:endParaRPr>
        </a:p>
      </dgm:t>
    </dgm:pt>
    <dgm:pt modelId="{24FC5EF6-2479-4B3D-97B2-2C2ADA37A9C2}" type="parTrans" cxnId="{2E3180D2-F7BA-4186-9570-48309DDD6F65}">
      <dgm:prSet/>
      <dgm:spPr/>
      <dgm:t>
        <a:bodyPr/>
        <a:lstStyle/>
        <a:p>
          <a:endParaRPr lang="en-GB" sz="1400"/>
        </a:p>
      </dgm:t>
    </dgm:pt>
    <dgm:pt modelId="{FE89A57A-010C-4BE5-A27B-0CA9A4B0C312}" type="sibTrans" cxnId="{2E3180D2-F7BA-4186-9570-48309DDD6F65}">
      <dgm:prSet/>
      <dgm:spPr/>
      <dgm:t>
        <a:bodyPr/>
        <a:lstStyle/>
        <a:p>
          <a:endParaRPr lang="en-GB" sz="1400"/>
        </a:p>
      </dgm:t>
    </dgm:pt>
    <dgm:pt modelId="{0EF32668-2599-4384-BB50-6B61CFBF26A3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GB" sz="1400" dirty="0"/>
            <a:t>Project Delivery</a:t>
          </a:r>
        </a:p>
      </dgm:t>
    </dgm:pt>
    <dgm:pt modelId="{78B03DDB-BEF1-48D0-BDC5-2FD23F0A58B4}" type="parTrans" cxnId="{B73E6C7D-95A2-4A5B-9303-43B4BDB052B9}">
      <dgm:prSet/>
      <dgm:spPr/>
      <dgm:t>
        <a:bodyPr/>
        <a:lstStyle/>
        <a:p>
          <a:endParaRPr lang="en-GB" sz="1400"/>
        </a:p>
      </dgm:t>
    </dgm:pt>
    <dgm:pt modelId="{9D36E528-7065-4C9B-B903-F15469123A0C}" type="sibTrans" cxnId="{B73E6C7D-95A2-4A5B-9303-43B4BDB052B9}">
      <dgm:prSet/>
      <dgm:spPr/>
      <dgm:t>
        <a:bodyPr/>
        <a:lstStyle/>
        <a:p>
          <a:endParaRPr lang="en-GB" sz="1400"/>
        </a:p>
      </dgm:t>
    </dgm:pt>
    <dgm:pt modelId="{C20065EC-D430-4F54-A7E5-A5EBDC8A8240}" type="pres">
      <dgm:prSet presAssocID="{2DCF268D-B5C9-4BAB-A035-1B548A3071C1}" presName="Name0" presStyleCnt="0">
        <dgm:presLayoutVars>
          <dgm:dir/>
          <dgm:animLvl val="lvl"/>
          <dgm:resizeHandles val="exact"/>
        </dgm:presLayoutVars>
      </dgm:prSet>
      <dgm:spPr/>
    </dgm:pt>
    <dgm:pt modelId="{E87F5AC6-9913-4139-AA4F-82AEBE6988AC}" type="pres">
      <dgm:prSet presAssocID="{B78EDCFC-3327-4B43-888E-D782CBFE7585}" presName="parTxOnly" presStyleLbl="node1" presStyleIdx="0" presStyleCnt="3" custScaleY="53772" custLinFactX="-14278" custLinFactNeighborX="-100000" custLinFactNeighborY="809">
        <dgm:presLayoutVars>
          <dgm:chMax val="0"/>
          <dgm:chPref val="0"/>
          <dgm:bulletEnabled val="1"/>
        </dgm:presLayoutVars>
      </dgm:prSet>
      <dgm:spPr/>
    </dgm:pt>
    <dgm:pt modelId="{C0EE1661-3A87-4930-ADA5-85431C87AE73}" type="pres">
      <dgm:prSet presAssocID="{75121DDF-17E5-458E-B033-E7A4E7902399}" presName="parTxOnlySpace" presStyleCnt="0"/>
      <dgm:spPr/>
    </dgm:pt>
    <dgm:pt modelId="{2D1D50D6-0184-4022-B6DB-9C0778BB4A6A}" type="pres">
      <dgm:prSet presAssocID="{DF3C28D4-F4C2-454F-B3B9-B30718FCC64B}" presName="parTxOnly" presStyleLbl="node1" presStyleIdx="1" presStyleCnt="3" custScaleY="53772">
        <dgm:presLayoutVars>
          <dgm:chMax val="0"/>
          <dgm:chPref val="0"/>
          <dgm:bulletEnabled val="1"/>
        </dgm:presLayoutVars>
      </dgm:prSet>
      <dgm:spPr/>
    </dgm:pt>
    <dgm:pt modelId="{77548DED-EC0E-4E15-9E22-E335EAAD98F1}" type="pres">
      <dgm:prSet presAssocID="{FE89A57A-010C-4BE5-A27B-0CA9A4B0C312}" presName="parTxOnlySpace" presStyleCnt="0"/>
      <dgm:spPr/>
    </dgm:pt>
    <dgm:pt modelId="{958F1CAE-7BF4-44FA-AE0D-49A537A4CC10}" type="pres">
      <dgm:prSet presAssocID="{0EF32668-2599-4384-BB50-6B61CFBF26A3}" presName="parTxOnly" presStyleLbl="node1" presStyleIdx="2" presStyleCnt="3" custScaleY="53772">
        <dgm:presLayoutVars>
          <dgm:chMax val="0"/>
          <dgm:chPref val="0"/>
          <dgm:bulletEnabled val="1"/>
        </dgm:presLayoutVars>
      </dgm:prSet>
      <dgm:spPr/>
    </dgm:pt>
  </dgm:ptLst>
  <dgm:cxnLst>
    <dgm:cxn modelId="{58B80712-61D6-4E40-A087-DE1C2DFABD53}" srcId="{2DCF268D-B5C9-4BAB-A035-1B548A3071C1}" destId="{B78EDCFC-3327-4B43-888E-D782CBFE7585}" srcOrd="0" destOrd="0" parTransId="{CAD11A9B-663F-4DB8-8073-95A230EE4CAD}" sibTransId="{75121DDF-17E5-458E-B033-E7A4E7902399}"/>
    <dgm:cxn modelId="{42CD6063-0D5D-4512-A273-C0D4864ECA97}" type="presOf" srcId="{0EF32668-2599-4384-BB50-6B61CFBF26A3}" destId="{958F1CAE-7BF4-44FA-AE0D-49A537A4CC10}" srcOrd="0" destOrd="0" presId="urn:microsoft.com/office/officeart/2005/8/layout/chevron1"/>
    <dgm:cxn modelId="{B73E6C7D-95A2-4A5B-9303-43B4BDB052B9}" srcId="{2DCF268D-B5C9-4BAB-A035-1B548A3071C1}" destId="{0EF32668-2599-4384-BB50-6B61CFBF26A3}" srcOrd="2" destOrd="0" parTransId="{78B03DDB-BEF1-48D0-BDC5-2FD23F0A58B4}" sibTransId="{9D36E528-7065-4C9B-B903-F15469123A0C}"/>
    <dgm:cxn modelId="{3B52F5A5-74CD-4E20-BD0E-213E33A79730}" type="presOf" srcId="{B78EDCFC-3327-4B43-888E-D782CBFE7585}" destId="{E87F5AC6-9913-4139-AA4F-82AEBE6988AC}" srcOrd="0" destOrd="0" presId="urn:microsoft.com/office/officeart/2005/8/layout/chevron1"/>
    <dgm:cxn modelId="{B76B56B0-BE52-4922-B90F-AAB794C8F5FB}" type="presOf" srcId="{DF3C28D4-F4C2-454F-B3B9-B30718FCC64B}" destId="{2D1D50D6-0184-4022-B6DB-9C0778BB4A6A}" srcOrd="0" destOrd="0" presId="urn:microsoft.com/office/officeart/2005/8/layout/chevron1"/>
    <dgm:cxn modelId="{6F67A9B3-F7F1-4692-A84B-6F78ECAD59E1}" type="presOf" srcId="{2DCF268D-B5C9-4BAB-A035-1B548A3071C1}" destId="{C20065EC-D430-4F54-A7E5-A5EBDC8A8240}" srcOrd="0" destOrd="0" presId="urn:microsoft.com/office/officeart/2005/8/layout/chevron1"/>
    <dgm:cxn modelId="{2E3180D2-F7BA-4186-9570-48309DDD6F65}" srcId="{2DCF268D-B5C9-4BAB-A035-1B548A3071C1}" destId="{DF3C28D4-F4C2-454F-B3B9-B30718FCC64B}" srcOrd="1" destOrd="0" parTransId="{24FC5EF6-2479-4B3D-97B2-2C2ADA37A9C2}" sibTransId="{FE89A57A-010C-4BE5-A27B-0CA9A4B0C312}"/>
    <dgm:cxn modelId="{842FC0EF-E1AF-4CF6-B689-91C3BABA74A2}" type="presParOf" srcId="{C20065EC-D430-4F54-A7E5-A5EBDC8A8240}" destId="{E87F5AC6-9913-4139-AA4F-82AEBE6988AC}" srcOrd="0" destOrd="0" presId="urn:microsoft.com/office/officeart/2005/8/layout/chevron1"/>
    <dgm:cxn modelId="{8B2AC229-B865-4C9E-9D1B-B57D78F60CD8}" type="presParOf" srcId="{C20065EC-D430-4F54-A7E5-A5EBDC8A8240}" destId="{C0EE1661-3A87-4930-ADA5-85431C87AE73}" srcOrd="1" destOrd="0" presId="urn:microsoft.com/office/officeart/2005/8/layout/chevron1"/>
    <dgm:cxn modelId="{D8B053A2-4865-4A9D-8EB8-D0A0CF1A50ED}" type="presParOf" srcId="{C20065EC-D430-4F54-A7E5-A5EBDC8A8240}" destId="{2D1D50D6-0184-4022-B6DB-9C0778BB4A6A}" srcOrd="2" destOrd="0" presId="urn:microsoft.com/office/officeart/2005/8/layout/chevron1"/>
    <dgm:cxn modelId="{0A656A36-EA95-453D-B4F2-F806E99FB25B}" type="presParOf" srcId="{C20065EC-D430-4F54-A7E5-A5EBDC8A8240}" destId="{77548DED-EC0E-4E15-9E22-E335EAAD98F1}" srcOrd="3" destOrd="0" presId="urn:microsoft.com/office/officeart/2005/8/layout/chevron1"/>
    <dgm:cxn modelId="{47DE1350-47F5-43AE-BBB7-99F912C5BC44}" type="presParOf" srcId="{C20065EC-D430-4F54-A7E5-A5EBDC8A8240}" destId="{958F1CAE-7BF4-44FA-AE0D-49A537A4CC10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A530F36-8E33-4B80-9A9A-4117E2ED5A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E3BD64A-6A49-4C93-B930-C271133A3531}">
      <dgm:prSet phldrT="[Text]" custT="1"/>
      <dgm:spPr/>
      <dgm:t>
        <a:bodyPr/>
        <a:lstStyle/>
        <a:p>
          <a:r>
            <a:rPr lang="en-GB" sz="1200" b="1" dirty="0"/>
            <a:t>April 2021</a:t>
          </a:r>
        </a:p>
      </dgm:t>
    </dgm:pt>
    <dgm:pt modelId="{2A26A7AC-BE62-4299-A321-D964DE51C869}" type="parTrans" cxnId="{04EA7A7F-DD13-460C-A513-6E57A946B6EE}">
      <dgm:prSet/>
      <dgm:spPr/>
      <dgm:t>
        <a:bodyPr/>
        <a:lstStyle/>
        <a:p>
          <a:endParaRPr lang="en-GB" sz="1000"/>
        </a:p>
      </dgm:t>
    </dgm:pt>
    <dgm:pt modelId="{52D48E1B-E91C-42EB-B778-BD7D941D924F}" type="sibTrans" cxnId="{04EA7A7F-DD13-460C-A513-6E57A946B6EE}">
      <dgm:prSet/>
      <dgm:spPr/>
      <dgm:t>
        <a:bodyPr/>
        <a:lstStyle/>
        <a:p>
          <a:endParaRPr lang="en-GB" sz="1000"/>
        </a:p>
      </dgm:t>
    </dgm:pt>
    <dgm:pt modelId="{9D8A81C4-8B49-4B0B-8454-16BCA1B6AFA6}" type="pres">
      <dgm:prSet presAssocID="{6A530F36-8E33-4B80-9A9A-4117E2ED5ACF}" presName="Name0" presStyleCnt="0">
        <dgm:presLayoutVars>
          <dgm:dir/>
          <dgm:animLvl val="lvl"/>
          <dgm:resizeHandles val="exact"/>
        </dgm:presLayoutVars>
      </dgm:prSet>
      <dgm:spPr/>
    </dgm:pt>
    <dgm:pt modelId="{BE934C80-3C60-4CC3-9D9C-4E493B067D74}" type="pres">
      <dgm:prSet presAssocID="{8E3BD64A-6A49-4C93-B930-C271133A3531}" presName="parTxOnly" presStyleLbl="node1" presStyleIdx="0" presStyleCnt="1" custLinFactNeighborX="-906" custLinFactNeighborY="-14605">
        <dgm:presLayoutVars>
          <dgm:chMax val="0"/>
          <dgm:chPref val="0"/>
          <dgm:bulletEnabled val="1"/>
        </dgm:presLayoutVars>
      </dgm:prSet>
      <dgm:spPr/>
    </dgm:pt>
  </dgm:ptLst>
  <dgm:cxnLst>
    <dgm:cxn modelId="{71B67660-F509-4644-AAE5-D9AA72350E8D}" type="presOf" srcId="{6A530F36-8E33-4B80-9A9A-4117E2ED5ACF}" destId="{9D8A81C4-8B49-4B0B-8454-16BCA1B6AFA6}" srcOrd="0" destOrd="0" presId="urn:microsoft.com/office/officeart/2005/8/layout/chevron1"/>
    <dgm:cxn modelId="{04EA7A7F-DD13-460C-A513-6E57A946B6EE}" srcId="{6A530F36-8E33-4B80-9A9A-4117E2ED5ACF}" destId="{8E3BD64A-6A49-4C93-B930-C271133A3531}" srcOrd="0" destOrd="0" parTransId="{2A26A7AC-BE62-4299-A321-D964DE51C869}" sibTransId="{52D48E1B-E91C-42EB-B778-BD7D941D924F}"/>
    <dgm:cxn modelId="{6581EB96-7733-4665-95D5-4FD166191242}" type="presOf" srcId="{8E3BD64A-6A49-4C93-B930-C271133A3531}" destId="{BE934C80-3C60-4CC3-9D9C-4E493B067D74}" srcOrd="0" destOrd="0" presId="urn:microsoft.com/office/officeart/2005/8/layout/chevron1"/>
    <dgm:cxn modelId="{CCCFA960-88A0-42C0-948A-6194B1D0F995}" type="presParOf" srcId="{9D8A81C4-8B49-4B0B-8454-16BCA1B6AFA6}" destId="{BE934C80-3C60-4CC3-9D9C-4E493B067D74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D2538-0A4B-4199-B69F-B3EDE5081AE2}">
      <dsp:nvSpPr>
        <dsp:cNvPr id="0" name=""/>
        <dsp:cNvSpPr/>
      </dsp:nvSpPr>
      <dsp:spPr>
        <a:xfrm>
          <a:off x="4783831" y="668439"/>
          <a:ext cx="881850" cy="8816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EAA222-0707-44C1-B9F3-7852CE641D3B}">
      <dsp:nvSpPr>
        <dsp:cNvPr id="0" name=""/>
        <dsp:cNvSpPr/>
      </dsp:nvSpPr>
      <dsp:spPr>
        <a:xfrm>
          <a:off x="4813524" y="697834"/>
          <a:ext cx="823023" cy="822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Base Case</a:t>
          </a:r>
          <a:endParaRPr lang="en-US" sz="1100" kern="1200"/>
        </a:p>
      </dsp:txBody>
      <dsp:txXfrm>
        <a:off x="4931179" y="815412"/>
        <a:ext cx="587713" cy="587737"/>
      </dsp:txXfrm>
    </dsp:sp>
    <dsp:sp modelId="{EB8A46C3-46E7-4048-891B-2C6F5646598D}">
      <dsp:nvSpPr>
        <dsp:cNvPr id="0" name=""/>
        <dsp:cNvSpPr/>
      </dsp:nvSpPr>
      <dsp:spPr>
        <a:xfrm rot="2700000">
          <a:off x="3872909" y="668340"/>
          <a:ext cx="881726" cy="881726"/>
        </a:xfrm>
        <a:prstGeom prst="teardrop">
          <a:avLst>
            <a:gd name="adj" fmla="val 100000"/>
          </a:avLst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8D6A35-41C1-4C8D-A147-186B70B1D2DE}">
      <dsp:nvSpPr>
        <dsp:cNvPr id="0" name=""/>
        <dsp:cNvSpPr/>
      </dsp:nvSpPr>
      <dsp:spPr>
        <a:xfrm>
          <a:off x="3902540" y="697834"/>
          <a:ext cx="823023" cy="822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/>
            <a:t>Refine</a:t>
          </a:r>
          <a:endParaRPr lang="en-US" sz="1100" b="0" kern="1200"/>
        </a:p>
      </dsp:txBody>
      <dsp:txXfrm>
        <a:off x="4020195" y="815412"/>
        <a:ext cx="587713" cy="587737"/>
      </dsp:txXfrm>
    </dsp:sp>
    <dsp:sp modelId="{27FEB15B-52F4-4FE6-A8D6-83B67E669E3B}">
      <dsp:nvSpPr>
        <dsp:cNvPr id="0" name=""/>
        <dsp:cNvSpPr/>
      </dsp:nvSpPr>
      <dsp:spPr>
        <a:xfrm rot="2700000">
          <a:off x="2961924" y="668340"/>
          <a:ext cx="881726" cy="881726"/>
        </a:xfrm>
        <a:prstGeom prst="teardrop">
          <a:avLst>
            <a:gd name="adj" fmla="val 100000"/>
          </a:avLst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9FE437-D4F7-42AC-AAE9-B8D4D91EB53E}">
      <dsp:nvSpPr>
        <dsp:cNvPr id="0" name=""/>
        <dsp:cNvSpPr/>
      </dsp:nvSpPr>
      <dsp:spPr>
        <a:xfrm>
          <a:off x="2991556" y="697834"/>
          <a:ext cx="823023" cy="822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Model</a:t>
          </a:r>
          <a:endParaRPr lang="en-US" sz="1100" kern="1200"/>
        </a:p>
      </dsp:txBody>
      <dsp:txXfrm>
        <a:off x="3109211" y="815412"/>
        <a:ext cx="587713" cy="587737"/>
      </dsp:txXfrm>
    </dsp:sp>
    <dsp:sp modelId="{A43684CD-3A64-436D-939D-CFE5C86DCA30}">
      <dsp:nvSpPr>
        <dsp:cNvPr id="0" name=""/>
        <dsp:cNvSpPr/>
      </dsp:nvSpPr>
      <dsp:spPr>
        <a:xfrm rot="2700000">
          <a:off x="2050940" y="668340"/>
          <a:ext cx="881726" cy="881726"/>
        </a:xfrm>
        <a:prstGeom prst="teardrop">
          <a:avLst>
            <a:gd name="adj" fmla="val 100000"/>
          </a:avLst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AEDA05-63CF-4F79-A9EA-61A481E53558}">
      <dsp:nvSpPr>
        <dsp:cNvPr id="0" name=""/>
        <dsp:cNvSpPr/>
      </dsp:nvSpPr>
      <dsp:spPr>
        <a:xfrm>
          <a:off x="2080572" y="697834"/>
          <a:ext cx="823023" cy="822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/>
            <a:t>Key beliefs</a:t>
          </a:r>
          <a:endParaRPr lang="en-US" sz="1100" b="0" kern="1200"/>
        </a:p>
      </dsp:txBody>
      <dsp:txXfrm>
        <a:off x="2197666" y="815412"/>
        <a:ext cx="587713" cy="587737"/>
      </dsp:txXfrm>
    </dsp:sp>
    <dsp:sp modelId="{1CAF460C-2338-45F7-8D11-5475D8A701A3}">
      <dsp:nvSpPr>
        <dsp:cNvPr id="0" name=""/>
        <dsp:cNvSpPr/>
      </dsp:nvSpPr>
      <dsp:spPr>
        <a:xfrm rot="2700000">
          <a:off x="1139956" y="668340"/>
          <a:ext cx="881726" cy="881726"/>
        </a:xfrm>
        <a:prstGeom prst="teardrop">
          <a:avLst>
            <a:gd name="adj" fmla="val 100000"/>
          </a:avLst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F7F7AD-DE83-4631-8021-367D519DBAE5}">
      <dsp:nvSpPr>
        <dsp:cNvPr id="0" name=""/>
        <dsp:cNvSpPr/>
      </dsp:nvSpPr>
      <dsp:spPr>
        <a:xfrm>
          <a:off x="1169588" y="697834"/>
          <a:ext cx="823023" cy="822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b="0" kern="1200"/>
            <a:t>Work</a:t>
          </a:r>
          <a:br>
            <a:rPr lang="en-GB" sz="1050" b="0" kern="1200"/>
          </a:br>
          <a:r>
            <a:rPr lang="en-GB" sz="1050" b="0" kern="1200"/>
            <a:t>shops</a:t>
          </a:r>
          <a:endParaRPr lang="en-US" sz="1050" b="0" kern="1200"/>
        </a:p>
      </dsp:txBody>
      <dsp:txXfrm>
        <a:off x="1286682" y="815412"/>
        <a:ext cx="587713" cy="587737"/>
      </dsp:txXfrm>
    </dsp:sp>
    <dsp:sp modelId="{B1BEDA2F-DCAA-4A54-810F-D544689E82EE}">
      <dsp:nvSpPr>
        <dsp:cNvPr id="0" name=""/>
        <dsp:cNvSpPr/>
      </dsp:nvSpPr>
      <dsp:spPr>
        <a:xfrm rot="2700000">
          <a:off x="228972" y="668340"/>
          <a:ext cx="881726" cy="881726"/>
        </a:xfrm>
        <a:prstGeom prst="teardrop">
          <a:avLst>
            <a:gd name="adj" fmla="val 100000"/>
          </a:avLst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E219D4-35F5-45B8-A920-E56A53339C4D}">
      <dsp:nvSpPr>
        <dsp:cNvPr id="0" name=""/>
        <dsp:cNvSpPr/>
      </dsp:nvSpPr>
      <dsp:spPr>
        <a:xfrm>
          <a:off x="258043" y="697834"/>
          <a:ext cx="823023" cy="82289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b="0" kern="1200"/>
            <a:t>Gather data</a:t>
          </a:r>
          <a:endParaRPr lang="en-US" sz="1050" b="0" kern="1200"/>
        </a:p>
      </dsp:txBody>
      <dsp:txXfrm>
        <a:off x="375698" y="815412"/>
        <a:ext cx="587713" cy="5877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B864B9-CF07-4795-BFCE-9BCCC2928D27}">
      <dsp:nvSpPr>
        <dsp:cNvPr id="0" name=""/>
        <dsp:cNvSpPr/>
      </dsp:nvSpPr>
      <dsp:spPr>
        <a:xfrm>
          <a:off x="1015254" y="111879"/>
          <a:ext cx="1445824" cy="1445824"/>
        </a:xfrm>
        <a:prstGeom prst="pie">
          <a:avLst>
            <a:gd name="adj1" fmla="val 16200000"/>
            <a:gd name="adj2" fmla="val 1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b="0" kern="1200" dirty="0">
              <a:latin typeface="Arial" charset="0"/>
              <a:ea typeface="ＭＳ Ｐゴシック" pitchFamily="48" charset="-128"/>
            </a:rPr>
            <a:t>SECURITY OF SUPPLY</a:t>
          </a:r>
          <a:endParaRPr lang="en-US" sz="900" kern="1200" dirty="0"/>
        </a:p>
      </dsp:txBody>
      <dsp:txXfrm>
        <a:off x="1777238" y="418256"/>
        <a:ext cx="516366" cy="430305"/>
      </dsp:txXfrm>
    </dsp:sp>
    <dsp:sp modelId="{EA18183C-1830-46AF-B3F5-35950A8EEB84}">
      <dsp:nvSpPr>
        <dsp:cNvPr id="0" name=""/>
        <dsp:cNvSpPr/>
      </dsp:nvSpPr>
      <dsp:spPr>
        <a:xfrm>
          <a:off x="985477" y="163515"/>
          <a:ext cx="1445824" cy="1445824"/>
        </a:xfrm>
        <a:prstGeom prst="pie">
          <a:avLst>
            <a:gd name="adj1" fmla="val 1800000"/>
            <a:gd name="adj2" fmla="val 90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None/>
          </a:pPr>
          <a:r>
            <a:rPr lang="en-US" sz="900" b="0" kern="1200" dirty="0">
              <a:latin typeface="Arial" charset="0"/>
              <a:ea typeface="ＭＳ Ｐゴシック" pitchFamily="48" charset="-128"/>
            </a:rPr>
            <a:t>SUSTAINABILITY</a:t>
          </a:r>
          <a:endParaRPr lang="en-US" sz="900" kern="1200" dirty="0"/>
        </a:p>
      </dsp:txBody>
      <dsp:txXfrm>
        <a:off x="1329721" y="1101580"/>
        <a:ext cx="774549" cy="378668"/>
      </dsp:txXfrm>
    </dsp:sp>
    <dsp:sp modelId="{9A216659-277D-4B76-9F1C-BD5CF1EF60FE}">
      <dsp:nvSpPr>
        <dsp:cNvPr id="0" name=""/>
        <dsp:cNvSpPr/>
      </dsp:nvSpPr>
      <dsp:spPr>
        <a:xfrm>
          <a:off x="955699" y="111879"/>
          <a:ext cx="1445824" cy="1445824"/>
        </a:xfrm>
        <a:prstGeom prst="pie">
          <a:avLst>
            <a:gd name="adj1" fmla="val 90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latin typeface="Arial" charset="0"/>
              <a:ea typeface="ＭＳ Ｐゴシック" pitchFamily="48" charset="-128"/>
            </a:rPr>
            <a:t>AFFORDABILITY</a:t>
          </a:r>
          <a:endParaRPr lang="en-US" sz="900" kern="1200" dirty="0"/>
        </a:p>
      </dsp:txBody>
      <dsp:txXfrm>
        <a:off x="1123174" y="418256"/>
        <a:ext cx="516366" cy="430305"/>
      </dsp:txXfrm>
    </dsp:sp>
    <dsp:sp modelId="{58CF5617-79CE-4570-842E-3C6DA0839E65}">
      <dsp:nvSpPr>
        <dsp:cNvPr id="0" name=""/>
        <dsp:cNvSpPr/>
      </dsp:nvSpPr>
      <dsp:spPr>
        <a:xfrm>
          <a:off x="951591" y="38526"/>
          <a:ext cx="1624831" cy="1624831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A2E471-F5AF-4FC9-B795-594F0A039B18}">
      <dsp:nvSpPr>
        <dsp:cNvPr id="0" name=""/>
        <dsp:cNvSpPr/>
      </dsp:nvSpPr>
      <dsp:spPr>
        <a:xfrm>
          <a:off x="895973" y="73921"/>
          <a:ext cx="1624831" cy="1624831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1C5ACE-45F6-4D42-B99A-61A311B2F57F}">
      <dsp:nvSpPr>
        <dsp:cNvPr id="0" name=""/>
        <dsp:cNvSpPr/>
      </dsp:nvSpPr>
      <dsp:spPr>
        <a:xfrm>
          <a:off x="866077" y="22375"/>
          <a:ext cx="1624831" cy="1624831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7F5AC6-9913-4139-AA4F-82AEBE6988AC}">
      <dsp:nvSpPr>
        <dsp:cNvPr id="0" name=""/>
        <dsp:cNvSpPr/>
      </dsp:nvSpPr>
      <dsp:spPr>
        <a:xfrm>
          <a:off x="0" y="0"/>
          <a:ext cx="4256540" cy="673099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Project Kick-off</a:t>
          </a:r>
        </a:p>
      </dsp:txBody>
      <dsp:txXfrm>
        <a:off x="336550" y="0"/>
        <a:ext cx="3583441" cy="673099"/>
      </dsp:txXfrm>
    </dsp:sp>
    <dsp:sp modelId="{2D1D50D6-0184-4022-B6DB-9C0778BB4A6A}">
      <dsp:nvSpPr>
        <dsp:cNvPr id="0" name=""/>
        <dsp:cNvSpPr/>
      </dsp:nvSpPr>
      <dsp:spPr>
        <a:xfrm>
          <a:off x="3834379" y="0"/>
          <a:ext cx="4256540" cy="673099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solidFill>
                <a:schemeClr val="bg1"/>
              </a:solidFill>
            </a:rPr>
            <a:t>Student Engagement</a:t>
          </a:r>
          <a:r>
            <a:rPr lang="en-GB" sz="1400" kern="1200" dirty="0">
              <a:solidFill>
                <a:schemeClr val="bg1"/>
              </a:solidFill>
              <a:latin typeface="Arial"/>
              <a:ea typeface="ＭＳ Ｐゴシック"/>
            </a:rPr>
            <a:t> </a:t>
          </a:r>
          <a:endParaRPr lang="en-GB" sz="1400" kern="1200" dirty="0">
            <a:solidFill>
              <a:schemeClr val="bg1"/>
            </a:solidFill>
          </a:endParaRPr>
        </a:p>
      </dsp:txBody>
      <dsp:txXfrm>
        <a:off x="4170929" y="0"/>
        <a:ext cx="3583441" cy="673099"/>
      </dsp:txXfrm>
    </dsp:sp>
    <dsp:sp modelId="{958F1CAE-7BF4-44FA-AE0D-49A537A4CC10}">
      <dsp:nvSpPr>
        <dsp:cNvPr id="0" name=""/>
        <dsp:cNvSpPr/>
      </dsp:nvSpPr>
      <dsp:spPr>
        <a:xfrm>
          <a:off x="7665266" y="0"/>
          <a:ext cx="4256540" cy="673099"/>
        </a:xfrm>
        <a:prstGeom prst="chevron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Project Delivery</a:t>
          </a:r>
        </a:p>
      </dsp:txBody>
      <dsp:txXfrm>
        <a:off x="8001816" y="0"/>
        <a:ext cx="3583441" cy="6730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934C80-3C60-4CC3-9D9C-4E493B067D74}">
      <dsp:nvSpPr>
        <dsp:cNvPr id="0" name=""/>
        <dsp:cNvSpPr/>
      </dsp:nvSpPr>
      <dsp:spPr>
        <a:xfrm>
          <a:off x="0" y="0"/>
          <a:ext cx="3737076" cy="3779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April 2021</a:t>
          </a:r>
        </a:p>
      </dsp:txBody>
      <dsp:txXfrm>
        <a:off x="188956" y="0"/>
        <a:ext cx="3359164" cy="3779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116272F-5D59-492F-80AF-0026EED52A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C0265E-2402-4F83-A04B-BCCE81C425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A4FDC2-DB84-4754-89B6-05E3E8E3A6AD}" type="datetimeFigureOut">
              <a:rPr lang="en-GB" smtClean="0"/>
              <a:t>09/04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AAA76E-CFCD-4EB0-9227-4A24EAB8D0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4B8B2-DE41-4576-9F4C-030E3D72AD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5BAF9C-58D2-47E2-BFCD-CBB7861DD5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638848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42EF12-E4B0-489E-82E1-517E5A0D6816}" type="datetimeFigureOut">
              <a:rPr lang="en-GB" smtClean="0"/>
              <a:t>09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6F4DF8-901D-4F9E-AF61-D016550D5D2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720170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779895-3E67-4CB8-BE0C-23F3FD5FF7F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356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4.svg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4.svg"/><Relationship Id="rId4" Type="http://schemas.openxmlformats.org/officeDocument/2006/relationships/image" Target="../media/image7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230197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+ Electricity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21948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+ Gas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35094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+ Gas System O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5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54416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3" y="6371172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261848820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7E7ED-A5E0-4DB4-B669-834FED9DA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34C821-1A0B-4204-9338-AD3BF11AC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</p:spTree>
    <p:extLst>
      <p:ext uri="{BB962C8B-B14F-4D97-AF65-F5344CB8AC3E}">
        <p14:creationId xmlns:p14="http://schemas.microsoft.com/office/powerpoint/2010/main" val="100068212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28820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02715E-7126-4D3C-B8BB-32B7CF6655C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32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72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4" y="6320506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3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2653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630036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7" y="1416055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3" y="1416671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71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4" y="6320506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3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7" y="285377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715507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21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3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7440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70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4" y="6320506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3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0688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7" y="1416055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3" y="1416671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71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4" y="6320506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3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7" y="285377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74117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364587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Electricity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31180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Gas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22242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Gas System O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5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14986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Capital Deli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69" y="277368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80855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+ Electricity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71331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+ Gas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9385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+ Gas System O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5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8015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3" y="6371172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29787919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Mast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21263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8CD6531-45C3-4B89-B496-4E7890A9C46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32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title here (28pt)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376" y="1411824"/>
            <a:ext cx="11331253" cy="2503249"/>
          </a:xfrm>
        </p:spPr>
        <p:txBody>
          <a:bodyPr/>
          <a:lstStyle>
            <a:lvl1pPr>
              <a:buClr>
                <a:srgbClr val="78A22F"/>
              </a:buClr>
              <a:defRPr/>
            </a:lvl1pPr>
            <a:lvl2pPr>
              <a:buClr>
                <a:srgbClr val="78A22F"/>
              </a:buClr>
              <a:defRPr/>
            </a:lvl2pPr>
            <a:lvl3pPr>
              <a:buClr>
                <a:srgbClr val="78A22F"/>
              </a:buClr>
              <a:defRPr/>
            </a:lvl3pPr>
            <a:lvl4pPr>
              <a:buClr>
                <a:srgbClr val="78A22F"/>
              </a:buClr>
              <a:defRPr/>
            </a:lvl4pPr>
            <a:lvl5pPr marL="1168253" indent="-271429">
              <a:buClr>
                <a:srgbClr val="78A22F"/>
              </a:buClr>
              <a:defRPr/>
            </a:lvl5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0867" y="6492880"/>
            <a:ext cx="851140" cy="365125"/>
          </a:xfrm>
          <a:prstGeom prst="rect">
            <a:avLst/>
          </a:prstGeom>
        </p:spPr>
        <p:txBody>
          <a:bodyPr anchor="b"/>
          <a:lstStyle>
            <a:lvl1pPr algn="r">
              <a:defRPr lang="en-GB" sz="1000" b="0" smtClean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fld id="{C765D33F-A874-457A-8BB6-233806FE718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044294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21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3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412849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54372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726F434-4BC8-4075-BE4F-6FD37E484A9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32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72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4" y="6320506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3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6030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PM 723 - Net Zero; The Integration Challeng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425FB-D75B-41E0-AA01-434DF30E70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5823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051683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  <a:endParaRPr lang="fr-F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2310053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612138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  <a:endParaRPr lang="fr-FR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04284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229013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29561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82227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6522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70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4" y="6320506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3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70108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29491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99422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45560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86673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218273671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| Base Case 2021 | Market Fundamentals</a:t>
            </a:r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729442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| Base Case 2021 | Market Fundamentals</a:t>
            </a:r>
            <a:endParaRPr lang="fr-F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864299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| Base Case 2021 | Market Fundamentals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495876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| Base Case 2021 | Market Fundamentals</a:t>
            </a:r>
            <a:endParaRPr lang="fr-FR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96305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3310396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6661770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4516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23673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9620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00224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5656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91094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74008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00551250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0654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Electricity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91381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Gas Trans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28564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Gas System O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172" y="340805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70041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Capital Deli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3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6" y="5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7" y="3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69" y="277368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3917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18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1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vmlDrawing" Target="../drawings/vmlDrawing6.vml"/><Relationship Id="rId10" Type="http://schemas.openxmlformats.org/officeDocument/2006/relationships/slideLayout" Target="../slideLayouts/slideLayout4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46.xml"/><Relationship Id="rId16" Type="http://schemas.openxmlformats.org/officeDocument/2006/relationships/vmlDrawing" Target="../drawings/vmlDrawing7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4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89035878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E57CB4D-7C34-47E0-9AB2-96DFB69CA05F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1" y="4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6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3" y="6320506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55366" y="6361604"/>
            <a:ext cx="959388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430376" y="6361604"/>
            <a:ext cx="1216077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200" b="1"/>
              <a:t>National </a:t>
            </a:r>
            <a:r>
              <a:rPr lang="fr-FR" sz="1200" b="1" err="1"/>
              <a:t>Grid</a:t>
            </a:r>
            <a:r>
              <a:rPr lang="fr-FR" sz="1200" b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9819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8" r:id="rId14"/>
    <p:sldLayoutId id="2147483676" r:id="rId1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6" orient="horz" pos="2845" userDrawn="1">
          <p15:clr>
            <a:srgbClr val="F26B43"/>
          </p15:clr>
        </p15:guide>
        <p15:guide id="8" pos="204" userDrawn="1">
          <p15:clr>
            <a:srgbClr val="F26B43"/>
          </p15:clr>
        </p15:guide>
        <p15:guide id="13" pos="2993" userDrawn="1">
          <p15:clr>
            <a:srgbClr val="F26B43"/>
          </p15:clr>
        </p15:guide>
        <p15:guide id="14" orient="horz" pos="350" userDrawn="1">
          <p15:clr>
            <a:srgbClr val="F26B43"/>
          </p15:clr>
        </p15:guide>
        <p15:guide id="15" orient="horz" pos="667" userDrawn="1">
          <p15:clr>
            <a:srgbClr val="F26B43"/>
          </p15:clr>
        </p15:guide>
        <p15:guide id="16" pos="2064" userDrawn="1">
          <p15:clr>
            <a:srgbClr val="F26B43"/>
          </p15:clr>
        </p15:guide>
        <p15:guide id="17" pos="3923" userDrawn="1">
          <p15:clr>
            <a:srgbClr val="F26B43"/>
          </p15:clr>
        </p15:guide>
        <p15:guide id="18" pos="3696" userDrawn="1">
          <p15:clr>
            <a:srgbClr val="F26B43"/>
          </p15:clr>
        </p15:guide>
        <p15:guide id="19" pos="18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E57CB4D-7C34-47E0-9AB2-96DFB69CA05F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1" y="4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6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3" y="6320506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4" y="6376996"/>
            <a:ext cx="959388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430376" y="6376993"/>
            <a:ext cx="12160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100" b="1"/>
              <a:t>National </a:t>
            </a:r>
            <a:r>
              <a:rPr lang="fr-FR" sz="1100" b="1" err="1"/>
              <a:t>Grid</a:t>
            </a:r>
            <a:r>
              <a:rPr lang="fr-FR" sz="1100" b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7389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86520F-DE29-47D0-B1C8-20B70E3E0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0541733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86520F-DE29-47D0-B1C8-20B70E3E04D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2FE7D7-BFE0-48C1-A1EC-F62E7D546A11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EPM 723 - Net Zero; The Integration Challenge</a:t>
            </a:r>
            <a:endParaRPr lang="fr-FR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186093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86520F-DE29-47D0-B1C8-20B70E3E0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68391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4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86520F-DE29-47D0-B1C8-20B70E3E04D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2FE7D7-BFE0-48C1-A1EC-F62E7D546A11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en-GB"/>
              <a:t>| Base Case 2021 | Market Fundamentals</a:t>
            </a:r>
            <a:endParaRPr lang="fr-FR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91721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tags" Target="../tags/tag19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6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3.png"/><Relationship Id="rId3" Type="http://schemas.openxmlformats.org/officeDocument/2006/relationships/tags" Target="../tags/tag21.xml"/><Relationship Id="rId21" Type="http://schemas.openxmlformats.org/officeDocument/2006/relationships/diagramData" Target="../diagrams/data2.xml"/><Relationship Id="rId7" Type="http://schemas.openxmlformats.org/officeDocument/2006/relationships/diagramData" Target="../diagrams/data1.xml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5" Type="http://schemas.microsoft.com/office/2007/relationships/diagramDrawing" Target="../diagrams/drawing2.xml"/><Relationship Id="rId2" Type="http://schemas.openxmlformats.org/officeDocument/2006/relationships/tags" Target="../tags/tag20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29" Type="http://schemas.openxmlformats.org/officeDocument/2006/relationships/image" Target="../media/image46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6.emf"/><Relationship Id="rId11" Type="http://schemas.microsoft.com/office/2007/relationships/diagramDrawing" Target="../diagrams/drawing1.xml"/><Relationship Id="rId24" Type="http://schemas.openxmlformats.org/officeDocument/2006/relationships/diagramColors" Target="../diagrams/colors2.xml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37.png"/><Relationship Id="rId23" Type="http://schemas.openxmlformats.org/officeDocument/2006/relationships/diagramQuickStyle" Target="../diagrams/quickStyle2.xml"/><Relationship Id="rId28" Type="http://schemas.openxmlformats.org/officeDocument/2006/relationships/image" Target="../media/image45.png"/><Relationship Id="rId10" Type="http://schemas.openxmlformats.org/officeDocument/2006/relationships/diagramColors" Target="../diagrams/colors1.xml"/><Relationship Id="rId19" Type="http://schemas.openxmlformats.org/officeDocument/2006/relationships/image" Target="../media/image41.png"/><Relationship Id="rId4" Type="http://schemas.openxmlformats.org/officeDocument/2006/relationships/slideLayout" Target="../slideLayouts/slideLayout15.xml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36.png"/><Relationship Id="rId22" Type="http://schemas.openxmlformats.org/officeDocument/2006/relationships/diagramLayout" Target="../diagrams/layout2.xml"/><Relationship Id="rId27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23.xml"/><Relationship Id="rId7" Type="http://schemas.openxmlformats.org/officeDocument/2006/relationships/image" Target="../media/image4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tags" Target="../tags/tag25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tags" Target="../tags/tag24.xml"/><Relationship Id="rId16" Type="http://schemas.microsoft.com/office/2007/relationships/diagramDrawing" Target="../diagrams/drawing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12.bin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slideLayout" Target="../slideLayouts/slideLayout15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41599E-A645-43DD-AEC0-8DBE70F88F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19661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41599E-A645-43DD-AEC0-8DBE70F88F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CC6450-6411-438B-A559-BB17A417FBC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GB" sz="40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56D6BB-EDB4-42A0-BEC1-DA0950B9A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775009" cy="1157385"/>
          </a:xfrm>
        </p:spPr>
        <p:txBody>
          <a:bodyPr/>
          <a:lstStyle/>
          <a:p>
            <a:r>
              <a:rPr lang="en-GB" sz="4000" dirty="0"/>
              <a:t>National Grid -</a:t>
            </a:r>
            <a:r>
              <a:rPr lang="en-GB" sz="4000" dirty="0" err="1"/>
              <a:t>LondonLab</a:t>
            </a:r>
            <a:r>
              <a:rPr lang="en-GB" sz="4000" dirty="0"/>
              <a:t> (MAM)</a:t>
            </a:r>
            <a:endParaRPr lang="en-GB" sz="4000" dirty="0"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2F506F-E43C-49E7-8C22-EEB207A37B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261" y="3467400"/>
            <a:ext cx="5378452" cy="1600438"/>
          </a:xfrm>
        </p:spPr>
        <p:txBody>
          <a:bodyPr/>
          <a:lstStyle/>
          <a:p>
            <a:r>
              <a:rPr lang="en-US" b="0"/>
              <a:t>April 2021</a:t>
            </a:r>
          </a:p>
          <a:p>
            <a:r>
              <a:rPr lang="en-GB" b="0"/>
              <a:t>Market Fundamentals</a:t>
            </a:r>
            <a:br>
              <a:rPr lang="en-GB" b="0"/>
            </a:br>
            <a:br>
              <a:rPr lang="en-GB" sz="1600">
                <a:solidFill>
                  <a:srgbClr val="FF0000"/>
                </a:solidFill>
              </a:rPr>
            </a:br>
            <a:r>
              <a:rPr lang="en-GB" sz="1600">
                <a:solidFill>
                  <a:srgbClr val="FF0000"/>
                </a:solidFill>
              </a:rPr>
              <a:t>For internal use only</a:t>
            </a:r>
            <a:br>
              <a:rPr lang="en-GB" b="0"/>
            </a:b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245358721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C968D7-1B26-4680-97D4-006DF38017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690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BC968D7-1B26-4680-97D4-006DF38017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59C15C-22CF-4B52-A317-D6746231D13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GB" sz="28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1F2448-91EE-4740-AC45-4B1A7402B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What do National Grid do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CCF0F9-DD03-4729-9116-3E2C6B7563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4475" y="2134402"/>
            <a:ext cx="2642778" cy="5745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598D98-16DD-4F33-83F5-7A9E00DAE3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43319" y="4242337"/>
            <a:ext cx="3114990" cy="4782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805430-C6C4-4B42-9DA2-AE96010905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46000" y="3061950"/>
            <a:ext cx="2174677" cy="81853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8F1BF2-8DC1-41F0-B1B2-D017DBDC8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7245" y="3560198"/>
            <a:ext cx="2875942" cy="1322933"/>
          </a:xfrm>
          <a:prstGeom prst="rect">
            <a:avLst/>
          </a:prstGeom>
        </p:spPr>
      </p:pic>
      <p:sp>
        <p:nvSpPr>
          <p:cNvPr id="12" name="AutoShape 4">
            <a:extLst>
              <a:ext uri="{FF2B5EF4-FFF2-40B4-BE49-F238E27FC236}">
                <a16:creationId xmlns:a16="http://schemas.microsoft.com/office/drawing/2014/main" id="{826D6A84-28C0-48AF-9DD9-C54B3DF6AA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173280" y="5378249"/>
            <a:ext cx="1080000" cy="576000"/>
          </a:xfrm>
          <a:prstGeom prst="chevron">
            <a:avLst>
              <a:gd name="adj" fmla="val 34975"/>
            </a:avLst>
          </a:prstGeom>
          <a:solidFill>
            <a:srgbClr val="7030A0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6000"/>
              </a:lnSpc>
              <a:defRPr/>
            </a:pPr>
            <a:r>
              <a:rPr lang="en-US" sz="900" b="0" dirty="0">
                <a:solidFill>
                  <a:prstClr val="white"/>
                </a:solidFill>
              </a:rPr>
              <a:t>Non Energy Services</a:t>
            </a:r>
          </a:p>
        </p:txBody>
      </p:sp>
      <p:sp>
        <p:nvSpPr>
          <p:cNvPr id="13" name="AutoShape 4">
            <a:extLst>
              <a:ext uri="{FF2B5EF4-FFF2-40B4-BE49-F238E27FC236}">
                <a16:creationId xmlns:a16="http://schemas.microsoft.com/office/drawing/2014/main" id="{F3BB4B95-5F52-4D69-B257-221305A3B1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01271" y="5384374"/>
            <a:ext cx="1080000" cy="576000"/>
          </a:xfrm>
          <a:prstGeom prst="chevron">
            <a:avLst>
              <a:gd name="adj" fmla="val 34975"/>
            </a:avLst>
          </a:prstGeom>
          <a:solidFill>
            <a:schemeClr val="accent6">
              <a:lumMod val="7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6000"/>
              </a:lnSpc>
              <a:defRPr/>
            </a:pPr>
            <a:r>
              <a:rPr lang="en-US" sz="1000" b="0" dirty="0">
                <a:solidFill>
                  <a:prstClr val="white"/>
                </a:solidFill>
              </a:rPr>
              <a:t>Energy Services</a:t>
            </a:r>
          </a:p>
        </p:txBody>
      </p:sp>
      <p:sp>
        <p:nvSpPr>
          <p:cNvPr id="14" name="AutoShape 3">
            <a:extLst>
              <a:ext uri="{FF2B5EF4-FFF2-40B4-BE49-F238E27FC236}">
                <a16:creationId xmlns:a16="http://schemas.microsoft.com/office/drawing/2014/main" id="{324CFA6A-7854-4A9A-9AB5-97D0D48A06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18720" y="5378249"/>
            <a:ext cx="1080000" cy="576000"/>
          </a:xfrm>
          <a:prstGeom prst="chevron">
            <a:avLst>
              <a:gd name="adj" fmla="val 34952"/>
            </a:avLst>
          </a:prstGeom>
          <a:solidFill>
            <a:schemeClr val="bg2">
              <a:lumMod val="60000"/>
              <a:lumOff val="4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6000"/>
              </a:lnSpc>
              <a:defRPr/>
            </a:pPr>
            <a:r>
              <a:rPr lang="en-GB" sz="1000" b="0" dirty="0">
                <a:solidFill>
                  <a:prstClr val="white"/>
                </a:solidFill>
              </a:rPr>
              <a:t>Nuclear</a:t>
            </a:r>
            <a:endParaRPr lang="en-US" sz="1000" b="0" dirty="0">
              <a:solidFill>
                <a:prstClr val="white"/>
              </a:solidFill>
            </a:endParaRPr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F4BD4226-2B1F-43FF-960C-8E0019AAD8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78839" y="5385038"/>
            <a:ext cx="1080000" cy="576000"/>
          </a:xfrm>
          <a:prstGeom prst="chevron">
            <a:avLst>
              <a:gd name="adj" fmla="val 34975"/>
            </a:avLst>
          </a:prstGeom>
          <a:solidFill>
            <a:schemeClr val="bg2">
              <a:lumMod val="7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6000"/>
              </a:lnSpc>
              <a:defRPr/>
            </a:pPr>
            <a:r>
              <a:rPr lang="en-US" sz="1000" b="0" dirty="0">
                <a:solidFill>
                  <a:prstClr val="white"/>
                </a:solidFill>
              </a:rPr>
              <a:t>Thermal</a:t>
            </a:r>
            <a:endParaRPr lang="en-US" sz="1050" b="0" dirty="0">
              <a:solidFill>
                <a:prstClr val="white"/>
              </a:solidFill>
            </a:endParaRPr>
          </a:p>
        </p:txBody>
      </p:sp>
      <p:sp>
        <p:nvSpPr>
          <p:cNvPr id="16" name="AutoShape 4">
            <a:extLst>
              <a:ext uri="{FF2B5EF4-FFF2-40B4-BE49-F238E27FC236}">
                <a16:creationId xmlns:a16="http://schemas.microsoft.com/office/drawing/2014/main" id="{B004B00C-7540-4046-8A81-642892BE6B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29262" y="5378249"/>
            <a:ext cx="1080000" cy="576000"/>
          </a:xfrm>
          <a:prstGeom prst="chevron">
            <a:avLst>
              <a:gd name="adj" fmla="val 34975"/>
            </a:avLst>
          </a:prstGeom>
          <a:solidFill>
            <a:schemeClr val="accent3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6000"/>
              </a:lnSpc>
              <a:defRPr/>
            </a:pPr>
            <a:r>
              <a:rPr lang="en-US" sz="1000" b="0" dirty="0">
                <a:solidFill>
                  <a:prstClr val="white"/>
                </a:solidFill>
              </a:rPr>
              <a:t>Electricity Retail</a:t>
            </a:r>
          </a:p>
        </p:txBody>
      </p:sp>
      <p:sp>
        <p:nvSpPr>
          <p:cNvPr id="17" name="AutoShape 4">
            <a:extLst>
              <a:ext uri="{FF2B5EF4-FFF2-40B4-BE49-F238E27FC236}">
                <a16:creationId xmlns:a16="http://schemas.microsoft.com/office/drawing/2014/main" id="{94AA29A3-5BD1-4784-B2BF-0A51BFB817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38958" y="5383106"/>
            <a:ext cx="1080000" cy="576000"/>
          </a:xfrm>
          <a:prstGeom prst="chevron">
            <a:avLst>
              <a:gd name="adj" fmla="val 34975"/>
            </a:avLst>
          </a:prstGeom>
          <a:solidFill>
            <a:srgbClr val="92D050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6000"/>
              </a:lnSpc>
              <a:defRPr/>
            </a:pPr>
            <a:endParaRPr lang="en-US" sz="1050" b="0" dirty="0">
              <a:solidFill>
                <a:prstClr val="white"/>
              </a:solidFill>
            </a:endParaRPr>
          </a:p>
          <a:p>
            <a:pPr>
              <a:lnSpc>
                <a:spcPct val="106000"/>
              </a:lnSpc>
              <a:defRPr/>
            </a:pPr>
            <a:r>
              <a:rPr lang="en-US" sz="1000" b="0" dirty="0">
                <a:solidFill>
                  <a:prstClr val="white"/>
                </a:solidFill>
              </a:rPr>
              <a:t>Renewables</a:t>
            </a:r>
          </a:p>
          <a:p>
            <a:pPr>
              <a:lnSpc>
                <a:spcPct val="106000"/>
              </a:lnSpc>
              <a:defRPr/>
            </a:pPr>
            <a:endParaRPr lang="en-US" sz="1400" b="0" dirty="0">
              <a:solidFill>
                <a:prstClr val="white"/>
              </a:solidFill>
            </a:endParaRPr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05DFA446-129A-4E08-8AAA-23607A8AAB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18958" y="5385038"/>
            <a:ext cx="2262075" cy="576000"/>
          </a:xfrm>
          <a:prstGeom prst="chevron">
            <a:avLst>
              <a:gd name="adj" fmla="val 34975"/>
            </a:avLst>
          </a:prstGeom>
          <a:solidFill>
            <a:srgbClr val="0073CD"/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6000"/>
              </a:lnSpc>
              <a:defRPr/>
            </a:pPr>
            <a:r>
              <a:rPr lang="en-US" sz="1000" b="0" dirty="0">
                <a:solidFill>
                  <a:prstClr val="white"/>
                </a:solidFill>
              </a:rPr>
              <a:t>Transmission</a:t>
            </a:r>
          </a:p>
        </p:txBody>
      </p:sp>
      <p:sp>
        <p:nvSpPr>
          <p:cNvPr id="19" name="AutoShape 4">
            <a:extLst>
              <a:ext uri="{FF2B5EF4-FFF2-40B4-BE49-F238E27FC236}">
                <a16:creationId xmlns:a16="http://schemas.microsoft.com/office/drawing/2014/main" id="{6D13DEA2-CB8D-43FF-89DC-CE7AAF7BB0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57253" y="5378249"/>
            <a:ext cx="1080000" cy="576000"/>
          </a:xfrm>
          <a:prstGeom prst="chevron">
            <a:avLst>
              <a:gd name="adj" fmla="val 34975"/>
            </a:avLst>
          </a:prstGeom>
          <a:solidFill>
            <a:schemeClr val="accent6">
              <a:lumMod val="5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06000"/>
              </a:lnSpc>
              <a:defRPr/>
            </a:pPr>
            <a:r>
              <a:rPr lang="en-US" sz="1000" b="0" dirty="0">
                <a:solidFill>
                  <a:prstClr val="white"/>
                </a:solidFill>
              </a:rPr>
              <a:t>Distribution</a:t>
            </a:r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A921AB2A-7520-4C3A-A624-7EA6A5102BCA}"/>
              </a:ext>
            </a:extLst>
          </p:cNvPr>
          <p:cNvSpPr/>
          <p:nvPr/>
        </p:nvSpPr>
        <p:spPr bwMode="auto">
          <a:xfrm rot="5400000">
            <a:off x="8923964" y="3305934"/>
            <a:ext cx="249149" cy="3685765"/>
          </a:xfrm>
          <a:prstGeom prst="leftBrace">
            <a:avLst>
              <a:gd name="adj1" fmla="val 8333"/>
              <a:gd name="adj2" fmla="val 50000"/>
            </a:avLst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>
              <a:ln>
                <a:noFill/>
              </a:ln>
              <a:solidFill>
                <a:srgbClr val="0079C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99EAB823-0F00-4A72-9CD6-AD27FA2FFF40}"/>
              </a:ext>
            </a:extLst>
          </p:cNvPr>
          <p:cNvSpPr/>
          <p:nvPr/>
        </p:nvSpPr>
        <p:spPr bwMode="auto">
          <a:xfrm rot="5400000">
            <a:off x="3334234" y="3730176"/>
            <a:ext cx="249328" cy="2880356"/>
          </a:xfrm>
          <a:prstGeom prst="leftBrac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>
              <a:ln>
                <a:noFill/>
              </a:ln>
              <a:solidFill>
                <a:srgbClr val="0079C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0A51781A-EF7D-4748-9E89-5A5BD20A6C68}"/>
              </a:ext>
            </a:extLst>
          </p:cNvPr>
          <p:cNvSpPr txBox="1"/>
          <p:nvPr/>
        </p:nvSpPr>
        <p:spPr bwMode="auto">
          <a:xfrm>
            <a:off x="2498780" y="4758306"/>
            <a:ext cx="194401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050" kern="0" dirty="0">
                <a:solidFill>
                  <a:schemeClr val="tx1"/>
                </a:solidFill>
                <a:latin typeface="+mn-lt"/>
                <a:ea typeface="+mn-ea"/>
              </a:rPr>
              <a:t>Generation</a:t>
            </a:r>
            <a:endParaRPr lang="en-US" sz="1050" kern="0" dirty="0" err="1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Left Brace 23">
            <a:extLst>
              <a:ext uri="{FF2B5EF4-FFF2-40B4-BE49-F238E27FC236}">
                <a16:creationId xmlns:a16="http://schemas.microsoft.com/office/drawing/2014/main" id="{96FAB9EF-64BE-4C64-9DED-B4189CA963FD}"/>
              </a:ext>
            </a:extLst>
          </p:cNvPr>
          <p:cNvSpPr/>
          <p:nvPr/>
        </p:nvSpPr>
        <p:spPr bwMode="auto">
          <a:xfrm rot="5400000">
            <a:off x="5932553" y="4012215"/>
            <a:ext cx="207798" cy="2274752"/>
          </a:xfrm>
          <a:prstGeom prst="leftBrac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>
              <a:ln>
                <a:noFill/>
              </a:ln>
              <a:solidFill>
                <a:srgbClr val="0079C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sp>
        <p:nvSpPr>
          <p:cNvPr id="25" name="TextBox 35">
            <a:extLst>
              <a:ext uri="{FF2B5EF4-FFF2-40B4-BE49-F238E27FC236}">
                <a16:creationId xmlns:a16="http://schemas.microsoft.com/office/drawing/2014/main" id="{88170859-5A30-49E8-917F-4107C5227BCF}"/>
              </a:ext>
            </a:extLst>
          </p:cNvPr>
          <p:cNvSpPr txBox="1"/>
          <p:nvPr/>
        </p:nvSpPr>
        <p:spPr bwMode="auto">
          <a:xfrm>
            <a:off x="5606957" y="4825838"/>
            <a:ext cx="978085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050" kern="0" dirty="0">
                <a:solidFill>
                  <a:schemeClr val="tx1"/>
                </a:solidFill>
                <a:latin typeface="+mn-lt"/>
                <a:ea typeface="+mn-ea"/>
              </a:rPr>
              <a:t>Transmission</a:t>
            </a: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262004E5-171D-496B-A07A-6A764F897FCC}"/>
              </a:ext>
            </a:extLst>
          </p:cNvPr>
          <p:cNvSpPr txBox="1"/>
          <p:nvPr/>
        </p:nvSpPr>
        <p:spPr bwMode="auto">
          <a:xfrm>
            <a:off x="8282657" y="4862659"/>
            <a:ext cx="1837227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050" kern="0" dirty="0">
                <a:solidFill>
                  <a:schemeClr val="tx1"/>
                </a:solidFill>
                <a:latin typeface="+mn-lt"/>
                <a:ea typeface="+mn-ea"/>
              </a:rPr>
              <a:t>Distribution and Retail</a:t>
            </a:r>
            <a:endParaRPr lang="en-US" sz="1050" kern="0" dirty="0" err="1">
              <a:solidFill>
                <a:schemeClr val="tx1"/>
              </a:solidFill>
              <a:latin typeface="+mn-lt"/>
              <a:ea typeface="+mn-ea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CAA4E98-8176-4466-8AF3-C22A66DF64F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48539" y="3975760"/>
            <a:ext cx="2059457" cy="83746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C753707-A120-405C-B85A-C528F42DEDE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8371" y="1214392"/>
            <a:ext cx="2380468" cy="148475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BA9407D-8FB0-4F22-AF1F-B22A010F297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458836" y="588775"/>
            <a:ext cx="1944019" cy="199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771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3D8C4E-B317-4B85-A039-B74F26EB9F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6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3D8C4E-B317-4B85-A039-B74F26EB9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7609972-634B-48F5-998D-095FB4D34B2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GB" sz="28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668229-0EA7-4805-8F08-FEF42BB55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2" y="356765"/>
            <a:ext cx="11287145" cy="574516"/>
          </a:xfrm>
        </p:spPr>
        <p:txBody>
          <a:bodyPr/>
          <a:lstStyle/>
          <a:p>
            <a:r>
              <a:rPr lang="en-GB" sz="2800" dirty="0"/>
              <a:t>Market Fundamentals: an objective, cost-driven view of the market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073E129-0776-4D0E-9725-BBFF6963DA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8725855"/>
              </p:ext>
            </p:extLst>
          </p:nvPr>
        </p:nvGraphicFramePr>
        <p:xfrm>
          <a:off x="269093" y="506965"/>
          <a:ext cx="5711947" cy="2218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D7958A8-1C08-4082-8DE0-1F37B380880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35339" y="4222703"/>
            <a:ext cx="768855" cy="2849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BD66964-D8EE-4770-BEBB-532B6C2E577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1004" y="4368891"/>
            <a:ext cx="1147416" cy="21219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F9C5335-EAEB-4082-AB09-A1477A65835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46540" y="4819442"/>
            <a:ext cx="951003" cy="3496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2E6CEDD-FC36-4FF1-886F-E981FEE5680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64513" y="4953239"/>
            <a:ext cx="798999" cy="2305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59179A6-97A4-4E43-9E3E-4D2620BCA5E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27320" y="2894456"/>
            <a:ext cx="498827" cy="2390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5DF122-E01B-4745-A4DC-AE5605D54BF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15556" y="5280386"/>
            <a:ext cx="1897749" cy="8057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BA06A7D-68B6-4F36-8127-6254CA9ACFC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820477" y="3576499"/>
            <a:ext cx="951003" cy="3170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DAB8C0B-E91A-48C5-B7A9-5939EFA3250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48551" y="3575714"/>
            <a:ext cx="1027342" cy="3248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7C02FCD-44BF-4D72-AE63-537BC9101AA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55769" y="2778261"/>
            <a:ext cx="1045349" cy="56822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DFBE3E0-EE3B-424E-BA2B-628D3DF76DD2}"/>
              </a:ext>
            </a:extLst>
          </p:cNvPr>
          <p:cNvGrpSpPr/>
          <p:nvPr/>
        </p:nvGrpSpPr>
        <p:grpSpPr>
          <a:xfrm>
            <a:off x="7657621" y="893943"/>
            <a:ext cx="3416779" cy="2120062"/>
            <a:chOff x="6334986" y="2991748"/>
            <a:chExt cx="3835174" cy="2707475"/>
          </a:xfrm>
        </p:grpSpPr>
        <p:graphicFrame>
          <p:nvGraphicFramePr>
            <p:cNvPr id="22" name="Diagram 21">
              <a:extLst>
                <a:ext uri="{FF2B5EF4-FFF2-40B4-BE49-F238E27FC236}">
                  <a16:creationId xmlns:a16="http://schemas.microsoft.com/office/drawing/2014/main" id="{0A1F9417-AAB5-42F0-80F8-E98A6B89FD8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39146710"/>
                </p:ext>
              </p:extLst>
            </p:nvPr>
          </p:nvGraphicFramePr>
          <p:xfrm>
            <a:off x="6334986" y="2991748"/>
            <a:ext cx="3835174" cy="219812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1" r:lo="rId22" r:qs="rId23" r:cs="rId24"/>
            </a:graphicData>
          </a:graphic>
        </p:graphicFrame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25E45AC-E40D-4F3D-860F-33DE2D7632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l="85759" t="72775" r="8167" b="19400"/>
            <a:stretch/>
          </p:blipFill>
          <p:spPr>
            <a:xfrm>
              <a:off x="6651665" y="3567483"/>
              <a:ext cx="545445" cy="562152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047B8ED-A565-4504-8EAD-988E8F1DAF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/>
            <a:srcRect l="57709" t="26563" r="35202" b="63824"/>
            <a:stretch/>
          </p:blipFill>
          <p:spPr>
            <a:xfrm>
              <a:off x="9395672" y="3508376"/>
              <a:ext cx="500009" cy="54242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3EA9AEC0-7D24-4FC7-882D-91F7F9CFA9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/>
            <a:srcRect l="60800" t="67104" r="32057" b="24277"/>
            <a:stretch/>
          </p:blipFill>
          <p:spPr>
            <a:xfrm>
              <a:off x="8094310" y="5171627"/>
              <a:ext cx="546532" cy="527596"/>
            </a:xfrm>
            <a:prstGeom prst="rect">
              <a:avLst/>
            </a:prstGeom>
          </p:spPr>
        </p:pic>
      </p:grpSp>
      <p:pic>
        <p:nvPicPr>
          <p:cNvPr id="17" name="Picture 16" descr="A picture containing chart&#10;&#10;Description automatically generated">
            <a:extLst>
              <a:ext uri="{FF2B5EF4-FFF2-40B4-BE49-F238E27FC236}">
                <a16:creationId xmlns:a16="http://schemas.microsoft.com/office/drawing/2014/main" id="{A1CFBAD3-E2BF-4952-80F9-27CF20B96E0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012" y="3138847"/>
            <a:ext cx="5972977" cy="2619361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00D927A4-DF5E-4569-BBE8-35EE2443267A}"/>
              </a:ext>
            </a:extLst>
          </p:cNvPr>
          <p:cNvGrpSpPr/>
          <p:nvPr/>
        </p:nvGrpSpPr>
        <p:grpSpPr>
          <a:xfrm>
            <a:off x="2704237" y="2600397"/>
            <a:ext cx="2739715" cy="3119236"/>
            <a:chOff x="1770063" y="369888"/>
            <a:chExt cx="4849813" cy="594518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BDD5243-9707-4457-A447-46C64C436F75}"/>
                </a:ext>
              </a:extLst>
            </p:cNvPr>
            <p:cNvGrpSpPr/>
            <p:nvPr/>
          </p:nvGrpSpPr>
          <p:grpSpPr>
            <a:xfrm>
              <a:off x="3821113" y="639763"/>
              <a:ext cx="1241425" cy="2854325"/>
              <a:chOff x="3821113" y="639763"/>
              <a:chExt cx="1241425" cy="2854325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254" name="Freeform 75">
                <a:extLst>
                  <a:ext uri="{FF2B5EF4-FFF2-40B4-BE49-F238E27FC236}">
                    <a16:creationId xmlns:a16="http://schemas.microsoft.com/office/drawing/2014/main" id="{721C902F-779F-44AC-B417-929999F92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625" y="1458913"/>
                <a:ext cx="11113" cy="28575"/>
              </a:xfrm>
              <a:custGeom>
                <a:avLst/>
                <a:gdLst>
                  <a:gd name="T0" fmla="*/ 0 w 35"/>
                  <a:gd name="T1" fmla="*/ 50 h 87"/>
                  <a:gd name="T2" fmla="*/ 17 w 35"/>
                  <a:gd name="T3" fmla="*/ 87 h 87"/>
                  <a:gd name="T4" fmla="*/ 33 w 35"/>
                  <a:gd name="T5" fmla="*/ 70 h 87"/>
                  <a:gd name="T6" fmla="*/ 35 w 35"/>
                  <a:gd name="T7" fmla="*/ 0 h 87"/>
                  <a:gd name="T8" fmla="*/ 19 w 35"/>
                  <a:gd name="T9" fmla="*/ 20 h 87"/>
                  <a:gd name="T10" fmla="*/ 0 w 35"/>
                  <a:gd name="T11" fmla="*/ 5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87">
                    <a:moveTo>
                      <a:pt x="0" y="50"/>
                    </a:moveTo>
                    <a:lnTo>
                      <a:pt x="17" y="87"/>
                    </a:lnTo>
                    <a:lnTo>
                      <a:pt x="33" y="70"/>
                    </a:lnTo>
                    <a:lnTo>
                      <a:pt x="35" y="0"/>
                    </a:lnTo>
                    <a:lnTo>
                      <a:pt x="19" y="20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5" name="Freeform 67">
                <a:extLst>
                  <a:ext uri="{FF2B5EF4-FFF2-40B4-BE49-F238E27FC236}">
                    <a16:creationId xmlns:a16="http://schemas.microsoft.com/office/drawing/2014/main" id="{F2266920-D7B0-4D5F-88A2-DB27CE7A9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4688" y="3041650"/>
                <a:ext cx="90488" cy="176213"/>
              </a:xfrm>
              <a:custGeom>
                <a:avLst/>
                <a:gdLst>
                  <a:gd name="T0" fmla="*/ 229 w 286"/>
                  <a:gd name="T1" fmla="*/ 34 h 557"/>
                  <a:gd name="T2" fmla="*/ 212 w 286"/>
                  <a:gd name="T3" fmla="*/ 0 h 557"/>
                  <a:gd name="T4" fmla="*/ 192 w 286"/>
                  <a:gd name="T5" fmla="*/ 37 h 557"/>
                  <a:gd name="T6" fmla="*/ 105 w 286"/>
                  <a:gd name="T7" fmla="*/ 48 h 557"/>
                  <a:gd name="T8" fmla="*/ 100 w 286"/>
                  <a:gd name="T9" fmla="*/ 102 h 557"/>
                  <a:gd name="T10" fmla="*/ 10 w 286"/>
                  <a:gd name="T11" fmla="*/ 225 h 557"/>
                  <a:gd name="T12" fmla="*/ 42 w 286"/>
                  <a:gd name="T13" fmla="*/ 311 h 557"/>
                  <a:gd name="T14" fmla="*/ 11 w 286"/>
                  <a:gd name="T15" fmla="*/ 355 h 557"/>
                  <a:gd name="T16" fmla="*/ 28 w 286"/>
                  <a:gd name="T17" fmla="*/ 400 h 557"/>
                  <a:gd name="T18" fmla="*/ 23 w 286"/>
                  <a:gd name="T19" fmla="*/ 474 h 557"/>
                  <a:gd name="T20" fmla="*/ 76 w 286"/>
                  <a:gd name="T21" fmla="*/ 447 h 557"/>
                  <a:gd name="T22" fmla="*/ 56 w 286"/>
                  <a:gd name="T23" fmla="*/ 481 h 557"/>
                  <a:gd name="T24" fmla="*/ 0 w 286"/>
                  <a:gd name="T25" fmla="*/ 557 h 557"/>
                  <a:gd name="T26" fmla="*/ 86 w 286"/>
                  <a:gd name="T27" fmla="*/ 536 h 557"/>
                  <a:gd name="T28" fmla="*/ 83 w 286"/>
                  <a:gd name="T29" fmla="*/ 486 h 557"/>
                  <a:gd name="T30" fmla="*/ 155 w 286"/>
                  <a:gd name="T31" fmla="*/ 379 h 557"/>
                  <a:gd name="T32" fmla="*/ 192 w 286"/>
                  <a:gd name="T33" fmla="*/ 372 h 557"/>
                  <a:gd name="T34" fmla="*/ 191 w 286"/>
                  <a:gd name="T35" fmla="*/ 317 h 557"/>
                  <a:gd name="T36" fmla="*/ 244 w 286"/>
                  <a:gd name="T37" fmla="*/ 299 h 557"/>
                  <a:gd name="T38" fmla="*/ 218 w 286"/>
                  <a:gd name="T39" fmla="*/ 257 h 557"/>
                  <a:gd name="T40" fmla="*/ 227 w 286"/>
                  <a:gd name="T41" fmla="*/ 107 h 557"/>
                  <a:gd name="T42" fmla="*/ 272 w 286"/>
                  <a:gd name="T43" fmla="*/ 96 h 557"/>
                  <a:gd name="T44" fmla="*/ 286 w 286"/>
                  <a:gd name="T45" fmla="*/ 37 h 557"/>
                  <a:gd name="T46" fmla="*/ 266 w 286"/>
                  <a:gd name="T47" fmla="*/ 0 h 557"/>
                  <a:gd name="T48" fmla="*/ 229 w 286"/>
                  <a:gd name="T49" fmla="*/ 34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6" h="557">
                    <a:moveTo>
                      <a:pt x="229" y="34"/>
                    </a:moveTo>
                    <a:lnTo>
                      <a:pt x="212" y="0"/>
                    </a:lnTo>
                    <a:lnTo>
                      <a:pt x="192" y="37"/>
                    </a:lnTo>
                    <a:lnTo>
                      <a:pt x="105" y="48"/>
                    </a:lnTo>
                    <a:lnTo>
                      <a:pt x="100" y="102"/>
                    </a:lnTo>
                    <a:lnTo>
                      <a:pt x="10" y="225"/>
                    </a:lnTo>
                    <a:lnTo>
                      <a:pt x="42" y="311"/>
                    </a:lnTo>
                    <a:lnTo>
                      <a:pt x="11" y="355"/>
                    </a:lnTo>
                    <a:lnTo>
                      <a:pt x="28" y="400"/>
                    </a:lnTo>
                    <a:lnTo>
                      <a:pt x="23" y="474"/>
                    </a:lnTo>
                    <a:lnTo>
                      <a:pt x="76" y="447"/>
                    </a:lnTo>
                    <a:lnTo>
                      <a:pt x="56" y="481"/>
                    </a:lnTo>
                    <a:lnTo>
                      <a:pt x="0" y="557"/>
                    </a:lnTo>
                    <a:lnTo>
                      <a:pt x="86" y="536"/>
                    </a:lnTo>
                    <a:lnTo>
                      <a:pt x="83" y="486"/>
                    </a:lnTo>
                    <a:lnTo>
                      <a:pt x="155" y="379"/>
                    </a:lnTo>
                    <a:lnTo>
                      <a:pt x="192" y="372"/>
                    </a:lnTo>
                    <a:lnTo>
                      <a:pt x="191" y="317"/>
                    </a:lnTo>
                    <a:lnTo>
                      <a:pt x="244" y="299"/>
                    </a:lnTo>
                    <a:lnTo>
                      <a:pt x="218" y="257"/>
                    </a:lnTo>
                    <a:lnTo>
                      <a:pt x="227" y="107"/>
                    </a:lnTo>
                    <a:lnTo>
                      <a:pt x="272" y="96"/>
                    </a:lnTo>
                    <a:lnTo>
                      <a:pt x="286" y="37"/>
                    </a:lnTo>
                    <a:lnTo>
                      <a:pt x="266" y="0"/>
                    </a:lnTo>
                    <a:lnTo>
                      <a:pt x="229" y="3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6" name="Freeform 68">
                <a:extLst>
                  <a:ext uri="{FF2B5EF4-FFF2-40B4-BE49-F238E27FC236}">
                    <a16:creationId xmlns:a16="http://schemas.microsoft.com/office/drawing/2014/main" id="{12D6DC16-E13F-43EF-8BFF-3002963AD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213" y="2779713"/>
                <a:ext cx="30163" cy="28575"/>
              </a:xfrm>
              <a:custGeom>
                <a:avLst/>
                <a:gdLst>
                  <a:gd name="T0" fmla="*/ 0 w 99"/>
                  <a:gd name="T1" fmla="*/ 15 h 87"/>
                  <a:gd name="T2" fmla="*/ 17 w 99"/>
                  <a:gd name="T3" fmla="*/ 55 h 87"/>
                  <a:gd name="T4" fmla="*/ 40 w 99"/>
                  <a:gd name="T5" fmla="*/ 50 h 87"/>
                  <a:gd name="T6" fmla="*/ 70 w 99"/>
                  <a:gd name="T7" fmla="*/ 87 h 87"/>
                  <a:gd name="T8" fmla="*/ 94 w 99"/>
                  <a:gd name="T9" fmla="*/ 47 h 87"/>
                  <a:gd name="T10" fmla="*/ 99 w 99"/>
                  <a:gd name="T11" fmla="*/ 0 h 87"/>
                  <a:gd name="T12" fmla="*/ 40 w 99"/>
                  <a:gd name="T13" fmla="*/ 21 h 87"/>
                  <a:gd name="T14" fmla="*/ 0 w 99"/>
                  <a:gd name="T15" fmla="*/ 1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9" h="87">
                    <a:moveTo>
                      <a:pt x="0" y="15"/>
                    </a:moveTo>
                    <a:lnTo>
                      <a:pt x="17" y="55"/>
                    </a:lnTo>
                    <a:lnTo>
                      <a:pt x="40" y="50"/>
                    </a:lnTo>
                    <a:lnTo>
                      <a:pt x="70" y="87"/>
                    </a:lnTo>
                    <a:lnTo>
                      <a:pt x="94" y="47"/>
                    </a:lnTo>
                    <a:lnTo>
                      <a:pt x="99" y="0"/>
                    </a:lnTo>
                    <a:lnTo>
                      <a:pt x="40" y="21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7" name="Freeform 69">
                <a:extLst>
                  <a:ext uri="{FF2B5EF4-FFF2-40B4-BE49-F238E27FC236}">
                    <a16:creationId xmlns:a16="http://schemas.microsoft.com/office/drawing/2014/main" id="{FBD9F9EC-95F3-4E38-B8B4-DC7B324DF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3022600"/>
                <a:ext cx="19050" cy="33338"/>
              </a:xfrm>
              <a:custGeom>
                <a:avLst/>
                <a:gdLst>
                  <a:gd name="T0" fmla="*/ 12 w 63"/>
                  <a:gd name="T1" fmla="*/ 4 h 103"/>
                  <a:gd name="T2" fmla="*/ 0 w 63"/>
                  <a:gd name="T3" fmla="*/ 33 h 103"/>
                  <a:gd name="T4" fmla="*/ 36 w 63"/>
                  <a:gd name="T5" fmla="*/ 103 h 103"/>
                  <a:gd name="T6" fmla="*/ 63 w 63"/>
                  <a:gd name="T7" fmla="*/ 56 h 103"/>
                  <a:gd name="T8" fmla="*/ 62 w 63"/>
                  <a:gd name="T9" fmla="*/ 0 h 103"/>
                  <a:gd name="T10" fmla="*/ 12 w 63"/>
                  <a:gd name="T11" fmla="*/ 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103">
                    <a:moveTo>
                      <a:pt x="12" y="4"/>
                    </a:moveTo>
                    <a:lnTo>
                      <a:pt x="0" y="33"/>
                    </a:lnTo>
                    <a:lnTo>
                      <a:pt x="36" y="103"/>
                    </a:lnTo>
                    <a:lnTo>
                      <a:pt x="63" y="56"/>
                    </a:lnTo>
                    <a:lnTo>
                      <a:pt x="62" y="0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8" name="Freeform 70">
                <a:extLst>
                  <a:ext uri="{FF2B5EF4-FFF2-40B4-BE49-F238E27FC236}">
                    <a16:creationId xmlns:a16="http://schemas.microsoft.com/office/drawing/2014/main" id="{5A99BA81-03BA-4EEC-8D47-6FB62F241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2763" y="3143250"/>
                <a:ext cx="61913" cy="187325"/>
              </a:xfrm>
              <a:custGeom>
                <a:avLst/>
                <a:gdLst>
                  <a:gd name="T0" fmla="*/ 142 w 195"/>
                  <a:gd name="T1" fmla="*/ 70 h 592"/>
                  <a:gd name="T2" fmla="*/ 146 w 195"/>
                  <a:gd name="T3" fmla="*/ 116 h 592"/>
                  <a:gd name="T4" fmla="*/ 126 w 195"/>
                  <a:gd name="T5" fmla="*/ 166 h 592"/>
                  <a:gd name="T6" fmla="*/ 94 w 195"/>
                  <a:gd name="T7" fmla="*/ 230 h 592"/>
                  <a:gd name="T8" fmla="*/ 41 w 195"/>
                  <a:gd name="T9" fmla="*/ 310 h 592"/>
                  <a:gd name="T10" fmla="*/ 0 w 195"/>
                  <a:gd name="T11" fmla="*/ 549 h 592"/>
                  <a:gd name="T12" fmla="*/ 3 w 195"/>
                  <a:gd name="T13" fmla="*/ 592 h 592"/>
                  <a:gd name="T14" fmla="*/ 40 w 195"/>
                  <a:gd name="T15" fmla="*/ 578 h 592"/>
                  <a:gd name="T16" fmla="*/ 82 w 195"/>
                  <a:gd name="T17" fmla="*/ 488 h 592"/>
                  <a:gd name="T18" fmla="*/ 101 w 195"/>
                  <a:gd name="T19" fmla="*/ 399 h 592"/>
                  <a:gd name="T20" fmla="*/ 117 w 195"/>
                  <a:gd name="T21" fmla="*/ 295 h 592"/>
                  <a:gd name="T22" fmla="*/ 167 w 195"/>
                  <a:gd name="T23" fmla="*/ 252 h 592"/>
                  <a:gd name="T24" fmla="*/ 166 w 195"/>
                  <a:gd name="T25" fmla="*/ 176 h 592"/>
                  <a:gd name="T26" fmla="*/ 178 w 195"/>
                  <a:gd name="T27" fmla="*/ 56 h 592"/>
                  <a:gd name="T28" fmla="*/ 195 w 195"/>
                  <a:gd name="T29" fmla="*/ 14 h 592"/>
                  <a:gd name="T30" fmla="*/ 185 w 195"/>
                  <a:gd name="T31" fmla="*/ 0 h 592"/>
                  <a:gd name="T32" fmla="*/ 142 w 195"/>
                  <a:gd name="T33" fmla="*/ 70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5" h="592">
                    <a:moveTo>
                      <a:pt x="142" y="70"/>
                    </a:moveTo>
                    <a:lnTo>
                      <a:pt x="146" y="116"/>
                    </a:lnTo>
                    <a:lnTo>
                      <a:pt x="126" y="166"/>
                    </a:lnTo>
                    <a:lnTo>
                      <a:pt x="94" y="230"/>
                    </a:lnTo>
                    <a:lnTo>
                      <a:pt x="41" y="310"/>
                    </a:lnTo>
                    <a:lnTo>
                      <a:pt x="0" y="549"/>
                    </a:lnTo>
                    <a:lnTo>
                      <a:pt x="3" y="592"/>
                    </a:lnTo>
                    <a:lnTo>
                      <a:pt x="40" y="578"/>
                    </a:lnTo>
                    <a:lnTo>
                      <a:pt x="82" y="488"/>
                    </a:lnTo>
                    <a:lnTo>
                      <a:pt x="101" y="399"/>
                    </a:lnTo>
                    <a:lnTo>
                      <a:pt x="117" y="295"/>
                    </a:lnTo>
                    <a:lnTo>
                      <a:pt x="167" y="252"/>
                    </a:lnTo>
                    <a:lnTo>
                      <a:pt x="166" y="176"/>
                    </a:lnTo>
                    <a:lnTo>
                      <a:pt x="178" y="56"/>
                    </a:lnTo>
                    <a:lnTo>
                      <a:pt x="195" y="14"/>
                    </a:lnTo>
                    <a:lnTo>
                      <a:pt x="185" y="0"/>
                    </a:lnTo>
                    <a:lnTo>
                      <a:pt x="142" y="7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9" name="Freeform 71">
                <a:extLst>
                  <a:ext uri="{FF2B5EF4-FFF2-40B4-BE49-F238E27FC236}">
                    <a16:creationId xmlns:a16="http://schemas.microsoft.com/office/drawing/2014/main" id="{CC4FFFC8-6CCC-48F7-824E-8555F6670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8025" y="2741613"/>
                <a:ext cx="19050" cy="22225"/>
              </a:xfrm>
              <a:custGeom>
                <a:avLst/>
                <a:gdLst>
                  <a:gd name="T0" fmla="*/ 30 w 59"/>
                  <a:gd name="T1" fmla="*/ 67 h 68"/>
                  <a:gd name="T2" fmla="*/ 30 w 59"/>
                  <a:gd name="T3" fmla="*/ 67 h 68"/>
                  <a:gd name="T4" fmla="*/ 36 w 59"/>
                  <a:gd name="T5" fmla="*/ 51 h 68"/>
                  <a:gd name="T6" fmla="*/ 46 w 59"/>
                  <a:gd name="T7" fmla="*/ 29 h 68"/>
                  <a:gd name="T8" fmla="*/ 59 w 59"/>
                  <a:gd name="T9" fmla="*/ 0 h 68"/>
                  <a:gd name="T10" fmla="*/ 0 w 59"/>
                  <a:gd name="T11" fmla="*/ 33 h 68"/>
                  <a:gd name="T12" fmla="*/ 0 w 59"/>
                  <a:gd name="T13" fmla="*/ 33 h 68"/>
                  <a:gd name="T14" fmla="*/ 3 w 59"/>
                  <a:gd name="T15" fmla="*/ 40 h 68"/>
                  <a:gd name="T16" fmla="*/ 13 w 59"/>
                  <a:gd name="T17" fmla="*/ 53 h 68"/>
                  <a:gd name="T18" fmla="*/ 19 w 59"/>
                  <a:gd name="T19" fmla="*/ 60 h 68"/>
                  <a:gd name="T20" fmla="*/ 23 w 59"/>
                  <a:gd name="T21" fmla="*/ 66 h 68"/>
                  <a:gd name="T22" fmla="*/ 28 w 59"/>
                  <a:gd name="T23" fmla="*/ 68 h 68"/>
                  <a:gd name="T24" fmla="*/ 29 w 59"/>
                  <a:gd name="T25" fmla="*/ 68 h 68"/>
                  <a:gd name="T26" fmla="*/ 30 w 59"/>
                  <a:gd name="T27" fmla="*/ 67 h 68"/>
                  <a:gd name="T28" fmla="*/ 30 w 59"/>
                  <a:gd name="T29" fmla="*/ 6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68">
                    <a:moveTo>
                      <a:pt x="30" y="67"/>
                    </a:moveTo>
                    <a:lnTo>
                      <a:pt x="30" y="67"/>
                    </a:lnTo>
                    <a:lnTo>
                      <a:pt x="36" y="51"/>
                    </a:lnTo>
                    <a:lnTo>
                      <a:pt x="46" y="29"/>
                    </a:lnTo>
                    <a:lnTo>
                      <a:pt x="59" y="0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3" y="40"/>
                    </a:lnTo>
                    <a:lnTo>
                      <a:pt x="13" y="53"/>
                    </a:lnTo>
                    <a:lnTo>
                      <a:pt x="19" y="60"/>
                    </a:lnTo>
                    <a:lnTo>
                      <a:pt x="23" y="66"/>
                    </a:lnTo>
                    <a:lnTo>
                      <a:pt x="28" y="68"/>
                    </a:lnTo>
                    <a:lnTo>
                      <a:pt x="29" y="68"/>
                    </a:lnTo>
                    <a:lnTo>
                      <a:pt x="30" y="67"/>
                    </a:lnTo>
                    <a:lnTo>
                      <a:pt x="30" y="6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60" name="Freeform 72">
                <a:extLst>
                  <a:ext uri="{FF2B5EF4-FFF2-40B4-BE49-F238E27FC236}">
                    <a16:creationId xmlns:a16="http://schemas.microsoft.com/office/drawing/2014/main" id="{D9BBBEE4-ABA5-45A2-BA41-F9EB46931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1113" y="639763"/>
                <a:ext cx="1241425" cy="2854325"/>
              </a:xfrm>
              <a:custGeom>
                <a:avLst/>
                <a:gdLst>
                  <a:gd name="T0" fmla="*/ 3753 w 3909"/>
                  <a:gd name="T1" fmla="*/ 1411 h 8987"/>
                  <a:gd name="T2" fmla="*/ 3762 w 3909"/>
                  <a:gd name="T3" fmla="*/ 858 h 8987"/>
                  <a:gd name="T4" fmla="*/ 3412 w 3909"/>
                  <a:gd name="T5" fmla="*/ 495 h 8987"/>
                  <a:gd name="T6" fmla="*/ 3027 w 3909"/>
                  <a:gd name="T7" fmla="*/ 217 h 8987"/>
                  <a:gd name="T8" fmla="*/ 2628 w 3909"/>
                  <a:gd name="T9" fmla="*/ 64 h 8987"/>
                  <a:gd name="T10" fmla="*/ 2435 w 3909"/>
                  <a:gd name="T11" fmla="*/ 444 h 8987"/>
                  <a:gd name="T12" fmla="*/ 1941 w 3909"/>
                  <a:gd name="T13" fmla="*/ 824 h 8987"/>
                  <a:gd name="T14" fmla="*/ 1440 w 3909"/>
                  <a:gd name="T15" fmla="*/ 1327 h 8987"/>
                  <a:gd name="T16" fmla="*/ 1152 w 3909"/>
                  <a:gd name="T17" fmla="*/ 2295 h 8987"/>
                  <a:gd name="T18" fmla="*/ 733 w 3909"/>
                  <a:gd name="T19" fmla="*/ 3480 h 8987"/>
                  <a:gd name="T20" fmla="*/ 406 w 3909"/>
                  <a:gd name="T21" fmla="*/ 3806 h 8987"/>
                  <a:gd name="T22" fmla="*/ 294 w 3909"/>
                  <a:gd name="T23" fmla="*/ 5120 h 8987"/>
                  <a:gd name="T24" fmla="*/ 387 w 3909"/>
                  <a:gd name="T25" fmla="*/ 5724 h 8987"/>
                  <a:gd name="T26" fmla="*/ 224 w 3909"/>
                  <a:gd name="T27" fmla="*/ 6562 h 8987"/>
                  <a:gd name="T28" fmla="*/ 102 w 3909"/>
                  <a:gd name="T29" fmla="*/ 7011 h 8987"/>
                  <a:gd name="T30" fmla="*/ 92 w 3909"/>
                  <a:gd name="T31" fmla="*/ 7306 h 8987"/>
                  <a:gd name="T32" fmla="*/ 105 w 3909"/>
                  <a:gd name="T33" fmla="*/ 7340 h 8987"/>
                  <a:gd name="T34" fmla="*/ 121 w 3909"/>
                  <a:gd name="T35" fmla="*/ 7321 h 8987"/>
                  <a:gd name="T36" fmla="*/ 123 w 3909"/>
                  <a:gd name="T37" fmla="*/ 7492 h 8987"/>
                  <a:gd name="T38" fmla="*/ 238 w 3909"/>
                  <a:gd name="T39" fmla="*/ 7654 h 8987"/>
                  <a:gd name="T40" fmla="*/ 328 w 3909"/>
                  <a:gd name="T41" fmla="*/ 8091 h 8987"/>
                  <a:gd name="T42" fmla="*/ 496 w 3909"/>
                  <a:gd name="T43" fmla="*/ 8537 h 8987"/>
                  <a:gd name="T44" fmla="*/ 572 w 3909"/>
                  <a:gd name="T45" fmla="*/ 8898 h 8987"/>
                  <a:gd name="T46" fmla="*/ 919 w 3909"/>
                  <a:gd name="T47" fmla="*/ 8945 h 8987"/>
                  <a:gd name="T48" fmla="*/ 1063 w 3909"/>
                  <a:gd name="T49" fmla="*/ 8605 h 8987"/>
                  <a:gd name="T50" fmla="*/ 1530 w 3909"/>
                  <a:gd name="T51" fmla="*/ 8356 h 8987"/>
                  <a:gd name="T52" fmla="*/ 1653 w 3909"/>
                  <a:gd name="T53" fmla="*/ 7840 h 8987"/>
                  <a:gd name="T54" fmla="*/ 1604 w 3909"/>
                  <a:gd name="T55" fmla="*/ 7551 h 8987"/>
                  <a:gd name="T56" fmla="*/ 1698 w 3909"/>
                  <a:gd name="T57" fmla="*/ 7404 h 8987"/>
                  <a:gd name="T58" fmla="*/ 1591 w 3909"/>
                  <a:gd name="T59" fmla="*/ 7375 h 8987"/>
                  <a:gd name="T60" fmla="*/ 1452 w 3909"/>
                  <a:gd name="T61" fmla="*/ 7322 h 8987"/>
                  <a:gd name="T62" fmla="*/ 1590 w 3909"/>
                  <a:gd name="T63" fmla="*/ 7253 h 8987"/>
                  <a:gd name="T64" fmla="*/ 1542 w 3909"/>
                  <a:gd name="T65" fmla="*/ 7137 h 8987"/>
                  <a:gd name="T66" fmla="*/ 1950 w 3909"/>
                  <a:gd name="T67" fmla="*/ 6927 h 8987"/>
                  <a:gd name="T68" fmla="*/ 2099 w 3909"/>
                  <a:gd name="T69" fmla="*/ 6851 h 8987"/>
                  <a:gd name="T70" fmla="*/ 2184 w 3909"/>
                  <a:gd name="T71" fmla="*/ 6893 h 8987"/>
                  <a:gd name="T72" fmla="*/ 1956 w 3909"/>
                  <a:gd name="T73" fmla="*/ 6801 h 8987"/>
                  <a:gd name="T74" fmla="*/ 1772 w 3909"/>
                  <a:gd name="T75" fmla="*/ 6737 h 8987"/>
                  <a:gd name="T76" fmla="*/ 1504 w 3909"/>
                  <a:gd name="T77" fmla="*/ 6633 h 8987"/>
                  <a:gd name="T78" fmla="*/ 1869 w 3909"/>
                  <a:gd name="T79" fmla="*/ 6670 h 8987"/>
                  <a:gd name="T80" fmla="*/ 1870 w 3909"/>
                  <a:gd name="T81" fmla="*/ 6523 h 8987"/>
                  <a:gd name="T82" fmla="*/ 2062 w 3909"/>
                  <a:gd name="T83" fmla="*/ 6674 h 8987"/>
                  <a:gd name="T84" fmla="*/ 2277 w 3909"/>
                  <a:gd name="T85" fmla="*/ 6493 h 8987"/>
                  <a:gd name="T86" fmla="*/ 2194 w 3909"/>
                  <a:gd name="T87" fmla="*/ 6202 h 8987"/>
                  <a:gd name="T88" fmla="*/ 2009 w 3909"/>
                  <a:gd name="T89" fmla="*/ 6022 h 8987"/>
                  <a:gd name="T90" fmla="*/ 1852 w 3909"/>
                  <a:gd name="T91" fmla="*/ 5973 h 8987"/>
                  <a:gd name="T92" fmla="*/ 1813 w 3909"/>
                  <a:gd name="T93" fmla="*/ 5721 h 8987"/>
                  <a:gd name="T94" fmla="*/ 1870 w 3909"/>
                  <a:gd name="T95" fmla="*/ 5362 h 8987"/>
                  <a:gd name="T96" fmla="*/ 1877 w 3909"/>
                  <a:gd name="T97" fmla="*/ 5053 h 8987"/>
                  <a:gd name="T98" fmla="*/ 1916 w 3909"/>
                  <a:gd name="T99" fmla="*/ 4851 h 8987"/>
                  <a:gd name="T100" fmla="*/ 2019 w 3909"/>
                  <a:gd name="T101" fmla="*/ 4588 h 8987"/>
                  <a:gd name="T102" fmla="*/ 2172 w 3909"/>
                  <a:gd name="T103" fmla="*/ 4540 h 8987"/>
                  <a:gd name="T104" fmla="*/ 2413 w 3909"/>
                  <a:gd name="T105" fmla="*/ 4248 h 8987"/>
                  <a:gd name="T106" fmla="*/ 2605 w 3909"/>
                  <a:gd name="T107" fmla="*/ 4124 h 8987"/>
                  <a:gd name="T108" fmla="*/ 3037 w 3909"/>
                  <a:gd name="T109" fmla="*/ 3559 h 8987"/>
                  <a:gd name="T110" fmla="*/ 3072 w 3909"/>
                  <a:gd name="T111" fmla="*/ 3482 h 8987"/>
                  <a:gd name="T112" fmla="*/ 3018 w 3909"/>
                  <a:gd name="T113" fmla="*/ 3291 h 8987"/>
                  <a:gd name="T114" fmla="*/ 3121 w 3909"/>
                  <a:gd name="T115" fmla="*/ 2961 h 8987"/>
                  <a:gd name="T116" fmla="*/ 3205 w 3909"/>
                  <a:gd name="T117" fmla="*/ 2708 h 8987"/>
                  <a:gd name="T118" fmla="*/ 3354 w 3909"/>
                  <a:gd name="T119" fmla="*/ 2544 h 8987"/>
                  <a:gd name="T120" fmla="*/ 3497 w 3909"/>
                  <a:gd name="T121" fmla="*/ 2516 h 8987"/>
                  <a:gd name="T122" fmla="*/ 3887 w 3909"/>
                  <a:gd name="T123" fmla="*/ 2470 h 8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909" h="8987">
                    <a:moveTo>
                      <a:pt x="3757" y="2218"/>
                    </a:moveTo>
                    <a:lnTo>
                      <a:pt x="3736" y="2082"/>
                    </a:lnTo>
                    <a:lnTo>
                      <a:pt x="3848" y="1869"/>
                    </a:lnTo>
                    <a:lnTo>
                      <a:pt x="3757" y="1807"/>
                    </a:lnTo>
                    <a:lnTo>
                      <a:pt x="3687" y="1459"/>
                    </a:lnTo>
                    <a:lnTo>
                      <a:pt x="3753" y="1411"/>
                    </a:lnTo>
                    <a:lnTo>
                      <a:pt x="3746" y="1312"/>
                    </a:lnTo>
                    <a:lnTo>
                      <a:pt x="3695" y="1256"/>
                    </a:lnTo>
                    <a:lnTo>
                      <a:pt x="3724" y="1153"/>
                    </a:lnTo>
                    <a:lnTo>
                      <a:pt x="3713" y="978"/>
                    </a:lnTo>
                    <a:lnTo>
                      <a:pt x="3759" y="930"/>
                    </a:lnTo>
                    <a:lnTo>
                      <a:pt x="3762" y="858"/>
                    </a:lnTo>
                    <a:lnTo>
                      <a:pt x="3701" y="798"/>
                    </a:lnTo>
                    <a:lnTo>
                      <a:pt x="3684" y="706"/>
                    </a:lnTo>
                    <a:lnTo>
                      <a:pt x="3634" y="736"/>
                    </a:lnTo>
                    <a:lnTo>
                      <a:pt x="3607" y="729"/>
                    </a:lnTo>
                    <a:lnTo>
                      <a:pt x="3536" y="544"/>
                    </a:lnTo>
                    <a:lnTo>
                      <a:pt x="3412" y="495"/>
                    </a:lnTo>
                    <a:lnTo>
                      <a:pt x="3375" y="466"/>
                    </a:lnTo>
                    <a:lnTo>
                      <a:pt x="3282" y="473"/>
                    </a:lnTo>
                    <a:lnTo>
                      <a:pt x="3204" y="345"/>
                    </a:lnTo>
                    <a:lnTo>
                      <a:pt x="3130" y="332"/>
                    </a:lnTo>
                    <a:lnTo>
                      <a:pt x="3067" y="237"/>
                    </a:lnTo>
                    <a:lnTo>
                      <a:pt x="3027" y="217"/>
                    </a:lnTo>
                    <a:lnTo>
                      <a:pt x="2989" y="161"/>
                    </a:lnTo>
                    <a:lnTo>
                      <a:pt x="2932" y="111"/>
                    </a:lnTo>
                    <a:lnTo>
                      <a:pt x="2904" y="55"/>
                    </a:lnTo>
                    <a:lnTo>
                      <a:pt x="2817" y="0"/>
                    </a:lnTo>
                    <a:lnTo>
                      <a:pt x="2728" y="60"/>
                    </a:lnTo>
                    <a:lnTo>
                      <a:pt x="2628" y="64"/>
                    </a:lnTo>
                    <a:lnTo>
                      <a:pt x="2716" y="229"/>
                    </a:lnTo>
                    <a:lnTo>
                      <a:pt x="2562" y="436"/>
                    </a:lnTo>
                    <a:lnTo>
                      <a:pt x="2655" y="475"/>
                    </a:lnTo>
                    <a:lnTo>
                      <a:pt x="2645" y="515"/>
                    </a:lnTo>
                    <a:lnTo>
                      <a:pt x="2579" y="540"/>
                    </a:lnTo>
                    <a:lnTo>
                      <a:pt x="2435" y="444"/>
                    </a:lnTo>
                    <a:lnTo>
                      <a:pt x="2288" y="443"/>
                    </a:lnTo>
                    <a:lnTo>
                      <a:pt x="2214" y="371"/>
                    </a:lnTo>
                    <a:lnTo>
                      <a:pt x="2098" y="417"/>
                    </a:lnTo>
                    <a:lnTo>
                      <a:pt x="2035" y="813"/>
                    </a:lnTo>
                    <a:lnTo>
                      <a:pt x="1972" y="854"/>
                    </a:lnTo>
                    <a:lnTo>
                      <a:pt x="1941" y="824"/>
                    </a:lnTo>
                    <a:lnTo>
                      <a:pt x="1842" y="798"/>
                    </a:lnTo>
                    <a:lnTo>
                      <a:pt x="1779" y="845"/>
                    </a:lnTo>
                    <a:lnTo>
                      <a:pt x="1750" y="895"/>
                    </a:lnTo>
                    <a:lnTo>
                      <a:pt x="1653" y="940"/>
                    </a:lnTo>
                    <a:lnTo>
                      <a:pt x="1582" y="1249"/>
                    </a:lnTo>
                    <a:lnTo>
                      <a:pt x="1440" y="1327"/>
                    </a:lnTo>
                    <a:lnTo>
                      <a:pt x="1428" y="1429"/>
                    </a:lnTo>
                    <a:lnTo>
                      <a:pt x="1518" y="1491"/>
                    </a:lnTo>
                    <a:lnTo>
                      <a:pt x="1512" y="1634"/>
                    </a:lnTo>
                    <a:lnTo>
                      <a:pt x="1249" y="2052"/>
                    </a:lnTo>
                    <a:lnTo>
                      <a:pt x="1242" y="2271"/>
                    </a:lnTo>
                    <a:lnTo>
                      <a:pt x="1152" y="2295"/>
                    </a:lnTo>
                    <a:lnTo>
                      <a:pt x="982" y="2277"/>
                    </a:lnTo>
                    <a:lnTo>
                      <a:pt x="963" y="2353"/>
                    </a:lnTo>
                    <a:lnTo>
                      <a:pt x="1024" y="2505"/>
                    </a:lnTo>
                    <a:lnTo>
                      <a:pt x="965" y="2619"/>
                    </a:lnTo>
                    <a:lnTo>
                      <a:pt x="931" y="2871"/>
                    </a:lnTo>
                    <a:lnTo>
                      <a:pt x="733" y="3480"/>
                    </a:lnTo>
                    <a:lnTo>
                      <a:pt x="810" y="3543"/>
                    </a:lnTo>
                    <a:lnTo>
                      <a:pt x="870" y="3615"/>
                    </a:lnTo>
                    <a:lnTo>
                      <a:pt x="846" y="3778"/>
                    </a:lnTo>
                    <a:lnTo>
                      <a:pt x="786" y="3809"/>
                    </a:lnTo>
                    <a:lnTo>
                      <a:pt x="525" y="3748"/>
                    </a:lnTo>
                    <a:lnTo>
                      <a:pt x="406" y="3806"/>
                    </a:lnTo>
                    <a:lnTo>
                      <a:pt x="246" y="4261"/>
                    </a:lnTo>
                    <a:lnTo>
                      <a:pt x="212" y="4444"/>
                    </a:lnTo>
                    <a:lnTo>
                      <a:pt x="279" y="4533"/>
                    </a:lnTo>
                    <a:lnTo>
                      <a:pt x="267" y="4627"/>
                    </a:lnTo>
                    <a:lnTo>
                      <a:pt x="343" y="4968"/>
                    </a:lnTo>
                    <a:lnTo>
                      <a:pt x="294" y="5120"/>
                    </a:lnTo>
                    <a:lnTo>
                      <a:pt x="289" y="5246"/>
                    </a:lnTo>
                    <a:lnTo>
                      <a:pt x="420" y="5414"/>
                    </a:lnTo>
                    <a:lnTo>
                      <a:pt x="474" y="5448"/>
                    </a:lnTo>
                    <a:lnTo>
                      <a:pt x="508" y="5550"/>
                    </a:lnTo>
                    <a:lnTo>
                      <a:pt x="479" y="5670"/>
                    </a:lnTo>
                    <a:lnTo>
                      <a:pt x="387" y="5724"/>
                    </a:lnTo>
                    <a:lnTo>
                      <a:pt x="447" y="6088"/>
                    </a:lnTo>
                    <a:lnTo>
                      <a:pt x="396" y="6338"/>
                    </a:lnTo>
                    <a:lnTo>
                      <a:pt x="340" y="6415"/>
                    </a:lnTo>
                    <a:lnTo>
                      <a:pt x="273" y="6455"/>
                    </a:lnTo>
                    <a:lnTo>
                      <a:pt x="236" y="6475"/>
                    </a:lnTo>
                    <a:lnTo>
                      <a:pt x="224" y="6562"/>
                    </a:lnTo>
                    <a:lnTo>
                      <a:pt x="148" y="6682"/>
                    </a:lnTo>
                    <a:lnTo>
                      <a:pt x="153" y="6815"/>
                    </a:lnTo>
                    <a:lnTo>
                      <a:pt x="171" y="6927"/>
                    </a:lnTo>
                    <a:lnTo>
                      <a:pt x="138" y="6957"/>
                    </a:lnTo>
                    <a:lnTo>
                      <a:pt x="142" y="6984"/>
                    </a:lnTo>
                    <a:lnTo>
                      <a:pt x="102" y="7011"/>
                    </a:lnTo>
                    <a:lnTo>
                      <a:pt x="45" y="6912"/>
                    </a:lnTo>
                    <a:lnTo>
                      <a:pt x="0" y="6902"/>
                    </a:lnTo>
                    <a:lnTo>
                      <a:pt x="9" y="7081"/>
                    </a:lnTo>
                    <a:lnTo>
                      <a:pt x="37" y="7224"/>
                    </a:lnTo>
                    <a:lnTo>
                      <a:pt x="50" y="7271"/>
                    </a:lnTo>
                    <a:lnTo>
                      <a:pt x="92" y="7306"/>
                    </a:lnTo>
                    <a:lnTo>
                      <a:pt x="88" y="7360"/>
                    </a:lnTo>
                    <a:lnTo>
                      <a:pt x="105" y="7372"/>
                    </a:lnTo>
                    <a:lnTo>
                      <a:pt x="105" y="7372"/>
                    </a:lnTo>
                    <a:lnTo>
                      <a:pt x="105" y="7365"/>
                    </a:lnTo>
                    <a:lnTo>
                      <a:pt x="105" y="7349"/>
                    </a:lnTo>
                    <a:lnTo>
                      <a:pt x="105" y="7340"/>
                    </a:lnTo>
                    <a:lnTo>
                      <a:pt x="106" y="7332"/>
                    </a:lnTo>
                    <a:lnTo>
                      <a:pt x="108" y="7326"/>
                    </a:lnTo>
                    <a:lnTo>
                      <a:pt x="109" y="7324"/>
                    </a:lnTo>
                    <a:lnTo>
                      <a:pt x="112" y="7323"/>
                    </a:lnTo>
                    <a:lnTo>
                      <a:pt x="112" y="7323"/>
                    </a:lnTo>
                    <a:lnTo>
                      <a:pt x="121" y="7321"/>
                    </a:lnTo>
                    <a:lnTo>
                      <a:pt x="132" y="7320"/>
                    </a:lnTo>
                    <a:lnTo>
                      <a:pt x="145" y="7320"/>
                    </a:lnTo>
                    <a:lnTo>
                      <a:pt x="195" y="7372"/>
                    </a:lnTo>
                    <a:lnTo>
                      <a:pt x="76" y="7442"/>
                    </a:lnTo>
                    <a:lnTo>
                      <a:pt x="69" y="7476"/>
                    </a:lnTo>
                    <a:lnTo>
                      <a:pt x="123" y="7492"/>
                    </a:lnTo>
                    <a:lnTo>
                      <a:pt x="160" y="7474"/>
                    </a:lnTo>
                    <a:lnTo>
                      <a:pt x="193" y="7488"/>
                    </a:lnTo>
                    <a:lnTo>
                      <a:pt x="193" y="7531"/>
                    </a:lnTo>
                    <a:lnTo>
                      <a:pt x="181" y="7561"/>
                    </a:lnTo>
                    <a:lnTo>
                      <a:pt x="194" y="7614"/>
                    </a:lnTo>
                    <a:lnTo>
                      <a:pt x="238" y="7654"/>
                    </a:lnTo>
                    <a:lnTo>
                      <a:pt x="228" y="7684"/>
                    </a:lnTo>
                    <a:lnTo>
                      <a:pt x="172" y="7697"/>
                    </a:lnTo>
                    <a:lnTo>
                      <a:pt x="219" y="7760"/>
                    </a:lnTo>
                    <a:lnTo>
                      <a:pt x="246" y="7879"/>
                    </a:lnTo>
                    <a:lnTo>
                      <a:pt x="297" y="7909"/>
                    </a:lnTo>
                    <a:lnTo>
                      <a:pt x="328" y="8091"/>
                    </a:lnTo>
                    <a:lnTo>
                      <a:pt x="551" y="8328"/>
                    </a:lnTo>
                    <a:lnTo>
                      <a:pt x="544" y="8394"/>
                    </a:lnTo>
                    <a:lnTo>
                      <a:pt x="472" y="8388"/>
                    </a:lnTo>
                    <a:lnTo>
                      <a:pt x="472" y="8421"/>
                    </a:lnTo>
                    <a:lnTo>
                      <a:pt x="518" y="8497"/>
                    </a:lnTo>
                    <a:lnTo>
                      <a:pt x="496" y="8537"/>
                    </a:lnTo>
                    <a:lnTo>
                      <a:pt x="473" y="8541"/>
                    </a:lnTo>
                    <a:lnTo>
                      <a:pt x="439" y="8512"/>
                    </a:lnTo>
                    <a:lnTo>
                      <a:pt x="423" y="8551"/>
                    </a:lnTo>
                    <a:lnTo>
                      <a:pt x="584" y="8786"/>
                    </a:lnTo>
                    <a:lnTo>
                      <a:pt x="552" y="8862"/>
                    </a:lnTo>
                    <a:lnTo>
                      <a:pt x="572" y="8898"/>
                    </a:lnTo>
                    <a:lnTo>
                      <a:pt x="523" y="8912"/>
                    </a:lnTo>
                    <a:lnTo>
                      <a:pt x="519" y="8969"/>
                    </a:lnTo>
                    <a:lnTo>
                      <a:pt x="633" y="8961"/>
                    </a:lnTo>
                    <a:lnTo>
                      <a:pt x="670" y="8987"/>
                    </a:lnTo>
                    <a:lnTo>
                      <a:pt x="819" y="8923"/>
                    </a:lnTo>
                    <a:lnTo>
                      <a:pt x="919" y="8945"/>
                    </a:lnTo>
                    <a:lnTo>
                      <a:pt x="960" y="8938"/>
                    </a:lnTo>
                    <a:lnTo>
                      <a:pt x="969" y="8858"/>
                    </a:lnTo>
                    <a:lnTo>
                      <a:pt x="917" y="8759"/>
                    </a:lnTo>
                    <a:lnTo>
                      <a:pt x="990" y="8672"/>
                    </a:lnTo>
                    <a:lnTo>
                      <a:pt x="1003" y="8589"/>
                    </a:lnTo>
                    <a:lnTo>
                      <a:pt x="1063" y="8605"/>
                    </a:lnTo>
                    <a:lnTo>
                      <a:pt x="1096" y="8528"/>
                    </a:lnTo>
                    <a:lnTo>
                      <a:pt x="1218" y="8504"/>
                    </a:lnTo>
                    <a:lnTo>
                      <a:pt x="1249" y="8541"/>
                    </a:lnTo>
                    <a:lnTo>
                      <a:pt x="1355" y="8526"/>
                    </a:lnTo>
                    <a:lnTo>
                      <a:pt x="1435" y="8562"/>
                    </a:lnTo>
                    <a:lnTo>
                      <a:pt x="1530" y="8356"/>
                    </a:lnTo>
                    <a:lnTo>
                      <a:pt x="1576" y="8192"/>
                    </a:lnTo>
                    <a:lnTo>
                      <a:pt x="1575" y="8096"/>
                    </a:lnTo>
                    <a:lnTo>
                      <a:pt x="1610" y="8023"/>
                    </a:lnTo>
                    <a:lnTo>
                      <a:pt x="1590" y="7947"/>
                    </a:lnTo>
                    <a:lnTo>
                      <a:pt x="1592" y="7900"/>
                    </a:lnTo>
                    <a:lnTo>
                      <a:pt x="1653" y="7840"/>
                    </a:lnTo>
                    <a:lnTo>
                      <a:pt x="1655" y="7776"/>
                    </a:lnTo>
                    <a:lnTo>
                      <a:pt x="1621" y="7747"/>
                    </a:lnTo>
                    <a:lnTo>
                      <a:pt x="1665" y="7701"/>
                    </a:lnTo>
                    <a:lnTo>
                      <a:pt x="1650" y="7657"/>
                    </a:lnTo>
                    <a:lnTo>
                      <a:pt x="1584" y="7611"/>
                    </a:lnTo>
                    <a:lnTo>
                      <a:pt x="1604" y="7551"/>
                    </a:lnTo>
                    <a:lnTo>
                      <a:pt x="1647" y="7588"/>
                    </a:lnTo>
                    <a:lnTo>
                      <a:pt x="1683" y="7550"/>
                    </a:lnTo>
                    <a:lnTo>
                      <a:pt x="1643" y="7508"/>
                    </a:lnTo>
                    <a:lnTo>
                      <a:pt x="1679" y="7461"/>
                    </a:lnTo>
                    <a:lnTo>
                      <a:pt x="1655" y="7412"/>
                    </a:lnTo>
                    <a:lnTo>
                      <a:pt x="1698" y="7404"/>
                    </a:lnTo>
                    <a:lnTo>
                      <a:pt x="1688" y="7342"/>
                    </a:lnTo>
                    <a:lnTo>
                      <a:pt x="1587" y="7276"/>
                    </a:lnTo>
                    <a:lnTo>
                      <a:pt x="1586" y="7298"/>
                    </a:lnTo>
                    <a:lnTo>
                      <a:pt x="1569" y="7321"/>
                    </a:lnTo>
                    <a:lnTo>
                      <a:pt x="1581" y="7342"/>
                    </a:lnTo>
                    <a:lnTo>
                      <a:pt x="1591" y="7375"/>
                    </a:lnTo>
                    <a:lnTo>
                      <a:pt x="1580" y="7388"/>
                    </a:lnTo>
                    <a:lnTo>
                      <a:pt x="1561" y="7378"/>
                    </a:lnTo>
                    <a:lnTo>
                      <a:pt x="1541" y="7347"/>
                    </a:lnTo>
                    <a:lnTo>
                      <a:pt x="1519" y="7343"/>
                    </a:lnTo>
                    <a:lnTo>
                      <a:pt x="1484" y="7352"/>
                    </a:lnTo>
                    <a:lnTo>
                      <a:pt x="1452" y="7322"/>
                    </a:lnTo>
                    <a:lnTo>
                      <a:pt x="1443" y="7298"/>
                    </a:lnTo>
                    <a:lnTo>
                      <a:pt x="1470" y="7285"/>
                    </a:lnTo>
                    <a:lnTo>
                      <a:pt x="1503" y="7303"/>
                    </a:lnTo>
                    <a:lnTo>
                      <a:pt x="1550" y="7294"/>
                    </a:lnTo>
                    <a:lnTo>
                      <a:pt x="1587" y="7276"/>
                    </a:lnTo>
                    <a:lnTo>
                      <a:pt x="1590" y="7253"/>
                    </a:lnTo>
                    <a:lnTo>
                      <a:pt x="1667" y="7285"/>
                    </a:lnTo>
                    <a:lnTo>
                      <a:pt x="1701" y="7262"/>
                    </a:lnTo>
                    <a:lnTo>
                      <a:pt x="1676" y="7199"/>
                    </a:lnTo>
                    <a:lnTo>
                      <a:pt x="1533" y="7204"/>
                    </a:lnTo>
                    <a:lnTo>
                      <a:pt x="1497" y="7160"/>
                    </a:lnTo>
                    <a:lnTo>
                      <a:pt x="1542" y="7137"/>
                    </a:lnTo>
                    <a:lnTo>
                      <a:pt x="1716" y="7166"/>
                    </a:lnTo>
                    <a:lnTo>
                      <a:pt x="1770" y="7138"/>
                    </a:lnTo>
                    <a:lnTo>
                      <a:pt x="1772" y="7086"/>
                    </a:lnTo>
                    <a:lnTo>
                      <a:pt x="1862" y="7071"/>
                    </a:lnTo>
                    <a:lnTo>
                      <a:pt x="1925" y="7004"/>
                    </a:lnTo>
                    <a:lnTo>
                      <a:pt x="1950" y="6927"/>
                    </a:lnTo>
                    <a:lnTo>
                      <a:pt x="1975" y="6951"/>
                    </a:lnTo>
                    <a:lnTo>
                      <a:pt x="1981" y="7001"/>
                    </a:lnTo>
                    <a:lnTo>
                      <a:pt x="2032" y="6996"/>
                    </a:lnTo>
                    <a:lnTo>
                      <a:pt x="2054" y="6920"/>
                    </a:lnTo>
                    <a:lnTo>
                      <a:pt x="2087" y="6910"/>
                    </a:lnTo>
                    <a:lnTo>
                      <a:pt x="2099" y="6851"/>
                    </a:lnTo>
                    <a:lnTo>
                      <a:pt x="2117" y="6886"/>
                    </a:lnTo>
                    <a:lnTo>
                      <a:pt x="2104" y="6913"/>
                    </a:lnTo>
                    <a:lnTo>
                      <a:pt x="2137" y="6940"/>
                    </a:lnTo>
                    <a:lnTo>
                      <a:pt x="2164" y="6955"/>
                    </a:lnTo>
                    <a:lnTo>
                      <a:pt x="2184" y="6918"/>
                    </a:lnTo>
                    <a:lnTo>
                      <a:pt x="2184" y="6893"/>
                    </a:lnTo>
                    <a:lnTo>
                      <a:pt x="2143" y="6849"/>
                    </a:lnTo>
                    <a:lnTo>
                      <a:pt x="2120" y="6824"/>
                    </a:lnTo>
                    <a:lnTo>
                      <a:pt x="2126" y="6784"/>
                    </a:lnTo>
                    <a:lnTo>
                      <a:pt x="2086" y="6757"/>
                    </a:lnTo>
                    <a:lnTo>
                      <a:pt x="2026" y="6788"/>
                    </a:lnTo>
                    <a:lnTo>
                      <a:pt x="1956" y="6801"/>
                    </a:lnTo>
                    <a:lnTo>
                      <a:pt x="1860" y="6783"/>
                    </a:lnTo>
                    <a:lnTo>
                      <a:pt x="1826" y="6819"/>
                    </a:lnTo>
                    <a:lnTo>
                      <a:pt x="1800" y="6793"/>
                    </a:lnTo>
                    <a:lnTo>
                      <a:pt x="1812" y="6747"/>
                    </a:lnTo>
                    <a:lnTo>
                      <a:pt x="1785" y="6700"/>
                    </a:lnTo>
                    <a:lnTo>
                      <a:pt x="1772" y="6737"/>
                    </a:lnTo>
                    <a:lnTo>
                      <a:pt x="1698" y="6705"/>
                    </a:lnTo>
                    <a:lnTo>
                      <a:pt x="1668" y="6668"/>
                    </a:lnTo>
                    <a:lnTo>
                      <a:pt x="1635" y="6685"/>
                    </a:lnTo>
                    <a:lnTo>
                      <a:pt x="1509" y="6699"/>
                    </a:lnTo>
                    <a:lnTo>
                      <a:pt x="1455" y="6657"/>
                    </a:lnTo>
                    <a:lnTo>
                      <a:pt x="1504" y="6633"/>
                    </a:lnTo>
                    <a:lnTo>
                      <a:pt x="1608" y="6656"/>
                    </a:lnTo>
                    <a:lnTo>
                      <a:pt x="1618" y="6612"/>
                    </a:lnTo>
                    <a:lnTo>
                      <a:pt x="1682" y="6634"/>
                    </a:lnTo>
                    <a:lnTo>
                      <a:pt x="1747" y="6601"/>
                    </a:lnTo>
                    <a:lnTo>
                      <a:pt x="1835" y="6677"/>
                    </a:lnTo>
                    <a:lnTo>
                      <a:pt x="1869" y="6670"/>
                    </a:lnTo>
                    <a:lnTo>
                      <a:pt x="1844" y="6593"/>
                    </a:lnTo>
                    <a:lnTo>
                      <a:pt x="1929" y="6689"/>
                    </a:lnTo>
                    <a:lnTo>
                      <a:pt x="1942" y="6709"/>
                    </a:lnTo>
                    <a:lnTo>
                      <a:pt x="1968" y="6676"/>
                    </a:lnTo>
                    <a:lnTo>
                      <a:pt x="1955" y="6609"/>
                    </a:lnTo>
                    <a:lnTo>
                      <a:pt x="1870" y="6523"/>
                    </a:lnTo>
                    <a:lnTo>
                      <a:pt x="1890" y="6481"/>
                    </a:lnTo>
                    <a:lnTo>
                      <a:pt x="1947" y="6546"/>
                    </a:lnTo>
                    <a:lnTo>
                      <a:pt x="1997" y="6552"/>
                    </a:lnTo>
                    <a:lnTo>
                      <a:pt x="1998" y="6701"/>
                    </a:lnTo>
                    <a:lnTo>
                      <a:pt x="2026" y="6721"/>
                    </a:lnTo>
                    <a:lnTo>
                      <a:pt x="2062" y="6674"/>
                    </a:lnTo>
                    <a:lnTo>
                      <a:pt x="2088" y="6681"/>
                    </a:lnTo>
                    <a:lnTo>
                      <a:pt x="2165" y="6653"/>
                    </a:lnTo>
                    <a:lnTo>
                      <a:pt x="2241" y="6603"/>
                    </a:lnTo>
                    <a:lnTo>
                      <a:pt x="2254" y="6566"/>
                    </a:lnTo>
                    <a:lnTo>
                      <a:pt x="2290" y="6523"/>
                    </a:lnTo>
                    <a:lnTo>
                      <a:pt x="2277" y="6493"/>
                    </a:lnTo>
                    <a:lnTo>
                      <a:pt x="2300" y="6459"/>
                    </a:lnTo>
                    <a:lnTo>
                      <a:pt x="2282" y="6347"/>
                    </a:lnTo>
                    <a:lnTo>
                      <a:pt x="2251" y="6288"/>
                    </a:lnTo>
                    <a:lnTo>
                      <a:pt x="2184" y="6252"/>
                    </a:lnTo>
                    <a:lnTo>
                      <a:pt x="2161" y="6225"/>
                    </a:lnTo>
                    <a:lnTo>
                      <a:pt x="2194" y="6202"/>
                    </a:lnTo>
                    <a:lnTo>
                      <a:pt x="2174" y="6165"/>
                    </a:lnTo>
                    <a:lnTo>
                      <a:pt x="2154" y="6146"/>
                    </a:lnTo>
                    <a:lnTo>
                      <a:pt x="2117" y="6156"/>
                    </a:lnTo>
                    <a:lnTo>
                      <a:pt x="2096" y="6113"/>
                    </a:lnTo>
                    <a:lnTo>
                      <a:pt x="2039" y="6061"/>
                    </a:lnTo>
                    <a:lnTo>
                      <a:pt x="2009" y="6022"/>
                    </a:lnTo>
                    <a:lnTo>
                      <a:pt x="1962" y="6038"/>
                    </a:lnTo>
                    <a:lnTo>
                      <a:pt x="1922" y="5981"/>
                    </a:lnTo>
                    <a:lnTo>
                      <a:pt x="1889" y="6003"/>
                    </a:lnTo>
                    <a:lnTo>
                      <a:pt x="1853" y="6056"/>
                    </a:lnTo>
                    <a:lnTo>
                      <a:pt x="1835" y="6029"/>
                    </a:lnTo>
                    <a:lnTo>
                      <a:pt x="1852" y="5973"/>
                    </a:lnTo>
                    <a:lnTo>
                      <a:pt x="1789" y="5957"/>
                    </a:lnTo>
                    <a:lnTo>
                      <a:pt x="1802" y="5924"/>
                    </a:lnTo>
                    <a:lnTo>
                      <a:pt x="1855" y="5922"/>
                    </a:lnTo>
                    <a:lnTo>
                      <a:pt x="1851" y="5890"/>
                    </a:lnTo>
                    <a:lnTo>
                      <a:pt x="1790" y="5778"/>
                    </a:lnTo>
                    <a:lnTo>
                      <a:pt x="1813" y="5721"/>
                    </a:lnTo>
                    <a:lnTo>
                      <a:pt x="1772" y="5585"/>
                    </a:lnTo>
                    <a:lnTo>
                      <a:pt x="1802" y="5548"/>
                    </a:lnTo>
                    <a:lnTo>
                      <a:pt x="1777" y="5489"/>
                    </a:lnTo>
                    <a:lnTo>
                      <a:pt x="1773" y="5313"/>
                    </a:lnTo>
                    <a:lnTo>
                      <a:pt x="1847" y="5315"/>
                    </a:lnTo>
                    <a:lnTo>
                      <a:pt x="1870" y="5362"/>
                    </a:lnTo>
                    <a:lnTo>
                      <a:pt x="1883" y="5325"/>
                    </a:lnTo>
                    <a:lnTo>
                      <a:pt x="1845" y="5299"/>
                    </a:lnTo>
                    <a:lnTo>
                      <a:pt x="1845" y="5233"/>
                    </a:lnTo>
                    <a:lnTo>
                      <a:pt x="1825" y="5186"/>
                    </a:lnTo>
                    <a:lnTo>
                      <a:pt x="1848" y="5149"/>
                    </a:lnTo>
                    <a:lnTo>
                      <a:pt x="1877" y="5053"/>
                    </a:lnTo>
                    <a:lnTo>
                      <a:pt x="1917" y="5007"/>
                    </a:lnTo>
                    <a:lnTo>
                      <a:pt x="1919" y="4953"/>
                    </a:lnTo>
                    <a:lnTo>
                      <a:pt x="1839" y="4907"/>
                    </a:lnTo>
                    <a:lnTo>
                      <a:pt x="1832" y="4834"/>
                    </a:lnTo>
                    <a:lnTo>
                      <a:pt x="1861" y="4800"/>
                    </a:lnTo>
                    <a:lnTo>
                      <a:pt x="1916" y="4851"/>
                    </a:lnTo>
                    <a:lnTo>
                      <a:pt x="1941" y="4807"/>
                    </a:lnTo>
                    <a:lnTo>
                      <a:pt x="1998" y="4779"/>
                    </a:lnTo>
                    <a:lnTo>
                      <a:pt x="2020" y="4677"/>
                    </a:lnTo>
                    <a:lnTo>
                      <a:pt x="1993" y="4611"/>
                    </a:lnTo>
                    <a:lnTo>
                      <a:pt x="1979" y="4541"/>
                    </a:lnTo>
                    <a:lnTo>
                      <a:pt x="2019" y="4588"/>
                    </a:lnTo>
                    <a:lnTo>
                      <a:pt x="2049" y="4590"/>
                    </a:lnTo>
                    <a:lnTo>
                      <a:pt x="2053" y="4627"/>
                    </a:lnTo>
                    <a:lnTo>
                      <a:pt x="2083" y="4623"/>
                    </a:lnTo>
                    <a:lnTo>
                      <a:pt x="2093" y="4560"/>
                    </a:lnTo>
                    <a:lnTo>
                      <a:pt x="2146" y="4580"/>
                    </a:lnTo>
                    <a:lnTo>
                      <a:pt x="2172" y="4540"/>
                    </a:lnTo>
                    <a:lnTo>
                      <a:pt x="2152" y="4480"/>
                    </a:lnTo>
                    <a:lnTo>
                      <a:pt x="2201" y="4416"/>
                    </a:lnTo>
                    <a:lnTo>
                      <a:pt x="2241" y="4389"/>
                    </a:lnTo>
                    <a:lnTo>
                      <a:pt x="2270" y="4282"/>
                    </a:lnTo>
                    <a:lnTo>
                      <a:pt x="2360" y="4282"/>
                    </a:lnTo>
                    <a:lnTo>
                      <a:pt x="2413" y="4248"/>
                    </a:lnTo>
                    <a:lnTo>
                      <a:pt x="2428" y="4159"/>
                    </a:lnTo>
                    <a:lnTo>
                      <a:pt x="2458" y="4135"/>
                    </a:lnTo>
                    <a:lnTo>
                      <a:pt x="2475" y="4149"/>
                    </a:lnTo>
                    <a:lnTo>
                      <a:pt x="2495" y="4099"/>
                    </a:lnTo>
                    <a:lnTo>
                      <a:pt x="2562" y="4168"/>
                    </a:lnTo>
                    <a:lnTo>
                      <a:pt x="2605" y="4124"/>
                    </a:lnTo>
                    <a:lnTo>
                      <a:pt x="2608" y="4061"/>
                    </a:lnTo>
                    <a:lnTo>
                      <a:pt x="2677" y="3990"/>
                    </a:lnTo>
                    <a:lnTo>
                      <a:pt x="2705" y="4040"/>
                    </a:lnTo>
                    <a:lnTo>
                      <a:pt x="2942" y="3785"/>
                    </a:lnTo>
                    <a:lnTo>
                      <a:pt x="3004" y="3626"/>
                    </a:lnTo>
                    <a:lnTo>
                      <a:pt x="3037" y="3559"/>
                    </a:lnTo>
                    <a:lnTo>
                      <a:pt x="3077" y="3552"/>
                    </a:lnTo>
                    <a:lnTo>
                      <a:pt x="3107" y="3541"/>
                    </a:lnTo>
                    <a:lnTo>
                      <a:pt x="3139" y="3515"/>
                    </a:lnTo>
                    <a:lnTo>
                      <a:pt x="3126" y="3498"/>
                    </a:lnTo>
                    <a:lnTo>
                      <a:pt x="3072" y="3519"/>
                    </a:lnTo>
                    <a:lnTo>
                      <a:pt x="3072" y="3482"/>
                    </a:lnTo>
                    <a:lnTo>
                      <a:pt x="3096" y="3459"/>
                    </a:lnTo>
                    <a:lnTo>
                      <a:pt x="3089" y="3412"/>
                    </a:lnTo>
                    <a:lnTo>
                      <a:pt x="3025" y="3400"/>
                    </a:lnTo>
                    <a:lnTo>
                      <a:pt x="2964" y="3304"/>
                    </a:lnTo>
                    <a:lnTo>
                      <a:pt x="3001" y="3324"/>
                    </a:lnTo>
                    <a:lnTo>
                      <a:pt x="3018" y="3291"/>
                    </a:lnTo>
                    <a:lnTo>
                      <a:pt x="2960" y="3234"/>
                    </a:lnTo>
                    <a:lnTo>
                      <a:pt x="3003" y="3142"/>
                    </a:lnTo>
                    <a:lnTo>
                      <a:pt x="3045" y="3144"/>
                    </a:lnTo>
                    <a:lnTo>
                      <a:pt x="3076" y="3097"/>
                    </a:lnTo>
                    <a:lnTo>
                      <a:pt x="3109" y="3080"/>
                    </a:lnTo>
                    <a:lnTo>
                      <a:pt x="3121" y="2961"/>
                    </a:lnTo>
                    <a:lnTo>
                      <a:pt x="3037" y="2859"/>
                    </a:lnTo>
                    <a:lnTo>
                      <a:pt x="3120" y="2818"/>
                    </a:lnTo>
                    <a:lnTo>
                      <a:pt x="3139" y="2752"/>
                    </a:lnTo>
                    <a:lnTo>
                      <a:pt x="3193" y="2794"/>
                    </a:lnTo>
                    <a:lnTo>
                      <a:pt x="3239" y="2784"/>
                    </a:lnTo>
                    <a:lnTo>
                      <a:pt x="3205" y="2708"/>
                    </a:lnTo>
                    <a:lnTo>
                      <a:pt x="3262" y="2700"/>
                    </a:lnTo>
                    <a:lnTo>
                      <a:pt x="3282" y="2667"/>
                    </a:lnTo>
                    <a:lnTo>
                      <a:pt x="3178" y="2589"/>
                    </a:lnTo>
                    <a:lnTo>
                      <a:pt x="3292" y="2631"/>
                    </a:lnTo>
                    <a:lnTo>
                      <a:pt x="3327" y="2574"/>
                    </a:lnTo>
                    <a:lnTo>
                      <a:pt x="3354" y="2544"/>
                    </a:lnTo>
                    <a:lnTo>
                      <a:pt x="3346" y="2477"/>
                    </a:lnTo>
                    <a:lnTo>
                      <a:pt x="3373" y="2447"/>
                    </a:lnTo>
                    <a:lnTo>
                      <a:pt x="3423" y="2530"/>
                    </a:lnTo>
                    <a:lnTo>
                      <a:pt x="3467" y="2446"/>
                    </a:lnTo>
                    <a:lnTo>
                      <a:pt x="3497" y="2463"/>
                    </a:lnTo>
                    <a:lnTo>
                      <a:pt x="3497" y="2516"/>
                    </a:lnTo>
                    <a:lnTo>
                      <a:pt x="3580" y="2549"/>
                    </a:lnTo>
                    <a:lnTo>
                      <a:pt x="3626" y="2472"/>
                    </a:lnTo>
                    <a:lnTo>
                      <a:pt x="3663" y="2484"/>
                    </a:lnTo>
                    <a:lnTo>
                      <a:pt x="3770" y="2464"/>
                    </a:lnTo>
                    <a:lnTo>
                      <a:pt x="3853" y="2513"/>
                    </a:lnTo>
                    <a:lnTo>
                      <a:pt x="3887" y="2470"/>
                    </a:lnTo>
                    <a:lnTo>
                      <a:pt x="3909" y="2460"/>
                    </a:lnTo>
                    <a:lnTo>
                      <a:pt x="3757" y="2218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61" name="Freeform 73">
                <a:extLst>
                  <a:ext uri="{FF2B5EF4-FFF2-40B4-BE49-F238E27FC236}">
                    <a16:creationId xmlns:a16="http://schemas.microsoft.com/office/drawing/2014/main" id="{B9AF5652-178A-4D1F-906D-49BA3C94A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6763" y="3024188"/>
                <a:ext cx="22225" cy="28575"/>
              </a:xfrm>
              <a:custGeom>
                <a:avLst/>
                <a:gdLst>
                  <a:gd name="T0" fmla="*/ 0 w 70"/>
                  <a:gd name="T1" fmla="*/ 43 h 89"/>
                  <a:gd name="T2" fmla="*/ 6 w 70"/>
                  <a:gd name="T3" fmla="*/ 89 h 89"/>
                  <a:gd name="T4" fmla="*/ 33 w 70"/>
                  <a:gd name="T5" fmla="*/ 37 h 89"/>
                  <a:gd name="T6" fmla="*/ 70 w 70"/>
                  <a:gd name="T7" fmla="*/ 42 h 89"/>
                  <a:gd name="T8" fmla="*/ 63 w 70"/>
                  <a:gd name="T9" fmla="*/ 0 h 89"/>
                  <a:gd name="T10" fmla="*/ 0 w 70"/>
                  <a:gd name="T11" fmla="*/ 4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89">
                    <a:moveTo>
                      <a:pt x="0" y="43"/>
                    </a:moveTo>
                    <a:lnTo>
                      <a:pt x="6" y="89"/>
                    </a:lnTo>
                    <a:lnTo>
                      <a:pt x="33" y="37"/>
                    </a:lnTo>
                    <a:lnTo>
                      <a:pt x="70" y="42"/>
                    </a:lnTo>
                    <a:lnTo>
                      <a:pt x="63" y="0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62" name="Freeform 74">
                <a:extLst>
                  <a:ext uri="{FF2B5EF4-FFF2-40B4-BE49-F238E27FC236}">
                    <a16:creationId xmlns:a16="http://schemas.microsoft.com/office/drawing/2014/main" id="{88B53618-0207-40C6-9FF0-BB6A75430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8500" y="2570163"/>
                <a:ext cx="15875" cy="23813"/>
              </a:xfrm>
              <a:custGeom>
                <a:avLst/>
                <a:gdLst>
                  <a:gd name="T0" fmla="*/ 7 w 50"/>
                  <a:gd name="T1" fmla="*/ 50 h 76"/>
                  <a:gd name="T2" fmla="*/ 40 w 50"/>
                  <a:gd name="T3" fmla="*/ 76 h 76"/>
                  <a:gd name="T4" fmla="*/ 50 w 50"/>
                  <a:gd name="T5" fmla="*/ 59 h 76"/>
                  <a:gd name="T6" fmla="*/ 0 w 50"/>
                  <a:gd name="T7" fmla="*/ 0 h 76"/>
                  <a:gd name="T8" fmla="*/ 7 w 50"/>
                  <a:gd name="T9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76">
                    <a:moveTo>
                      <a:pt x="7" y="50"/>
                    </a:moveTo>
                    <a:lnTo>
                      <a:pt x="40" y="76"/>
                    </a:lnTo>
                    <a:lnTo>
                      <a:pt x="50" y="59"/>
                    </a:lnTo>
                    <a:lnTo>
                      <a:pt x="0" y="0"/>
                    </a:lnTo>
                    <a:lnTo>
                      <a:pt x="7" y="5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63" name="Freeform 76">
                <a:extLst>
                  <a:ext uri="{FF2B5EF4-FFF2-40B4-BE49-F238E27FC236}">
                    <a16:creationId xmlns:a16="http://schemas.microsoft.com/office/drawing/2014/main" id="{3B84C46E-B5CF-4FF2-935D-2A0F7333A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0713" y="2771775"/>
                <a:ext cx="22225" cy="15875"/>
              </a:xfrm>
              <a:custGeom>
                <a:avLst/>
                <a:gdLst>
                  <a:gd name="T0" fmla="*/ 0 w 70"/>
                  <a:gd name="T1" fmla="*/ 14 h 46"/>
                  <a:gd name="T2" fmla="*/ 33 w 70"/>
                  <a:gd name="T3" fmla="*/ 46 h 46"/>
                  <a:gd name="T4" fmla="*/ 70 w 70"/>
                  <a:gd name="T5" fmla="*/ 26 h 46"/>
                  <a:gd name="T6" fmla="*/ 47 w 70"/>
                  <a:gd name="T7" fmla="*/ 0 h 46"/>
                  <a:gd name="T8" fmla="*/ 0 w 70"/>
                  <a:gd name="T9" fmla="*/ 1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46">
                    <a:moveTo>
                      <a:pt x="0" y="14"/>
                    </a:moveTo>
                    <a:lnTo>
                      <a:pt x="33" y="46"/>
                    </a:lnTo>
                    <a:lnTo>
                      <a:pt x="70" y="26"/>
                    </a:lnTo>
                    <a:lnTo>
                      <a:pt x="47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20BCAC9-4039-4B60-8FF3-7A04F66410EB}"/>
                </a:ext>
              </a:extLst>
            </p:cNvPr>
            <p:cNvGrpSpPr/>
            <p:nvPr/>
          </p:nvGrpSpPr>
          <p:grpSpPr>
            <a:xfrm>
              <a:off x="4629150" y="369888"/>
              <a:ext cx="1128713" cy="2316163"/>
              <a:chOff x="4629150" y="369888"/>
              <a:chExt cx="1128713" cy="2316163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241" name="Freeform 77">
                <a:extLst>
                  <a:ext uri="{FF2B5EF4-FFF2-40B4-BE49-F238E27FC236}">
                    <a16:creationId xmlns:a16="http://schemas.microsoft.com/office/drawing/2014/main" id="{3701B770-B64F-4AD3-A4BE-AB1C72FF9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7588" y="2563813"/>
                <a:ext cx="22225" cy="28575"/>
              </a:xfrm>
              <a:custGeom>
                <a:avLst/>
                <a:gdLst>
                  <a:gd name="T0" fmla="*/ 67 w 67"/>
                  <a:gd name="T1" fmla="*/ 73 h 89"/>
                  <a:gd name="T2" fmla="*/ 54 w 67"/>
                  <a:gd name="T3" fmla="*/ 12 h 89"/>
                  <a:gd name="T4" fmla="*/ 17 w 67"/>
                  <a:gd name="T5" fmla="*/ 0 h 89"/>
                  <a:gd name="T6" fmla="*/ 0 w 67"/>
                  <a:gd name="T7" fmla="*/ 14 h 89"/>
                  <a:gd name="T8" fmla="*/ 1 w 67"/>
                  <a:gd name="T9" fmla="*/ 69 h 89"/>
                  <a:gd name="T10" fmla="*/ 21 w 67"/>
                  <a:gd name="T11" fmla="*/ 89 h 89"/>
                  <a:gd name="T12" fmla="*/ 67 w 67"/>
                  <a:gd name="T13" fmla="*/ 7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89">
                    <a:moveTo>
                      <a:pt x="67" y="73"/>
                    </a:moveTo>
                    <a:lnTo>
                      <a:pt x="54" y="12"/>
                    </a:lnTo>
                    <a:lnTo>
                      <a:pt x="17" y="0"/>
                    </a:lnTo>
                    <a:lnTo>
                      <a:pt x="0" y="14"/>
                    </a:lnTo>
                    <a:lnTo>
                      <a:pt x="1" y="69"/>
                    </a:lnTo>
                    <a:lnTo>
                      <a:pt x="21" y="89"/>
                    </a:lnTo>
                    <a:lnTo>
                      <a:pt x="67" y="7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2" name="Freeform 78">
                <a:extLst>
                  <a:ext uri="{FF2B5EF4-FFF2-40B4-BE49-F238E27FC236}">
                    <a16:creationId xmlns:a16="http://schemas.microsoft.com/office/drawing/2014/main" id="{E36E54FD-A352-45C6-8B78-8DA37FFE8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2188" y="2620963"/>
                <a:ext cx="17463" cy="23813"/>
              </a:xfrm>
              <a:custGeom>
                <a:avLst/>
                <a:gdLst>
                  <a:gd name="T0" fmla="*/ 3 w 57"/>
                  <a:gd name="T1" fmla="*/ 17 h 73"/>
                  <a:gd name="T2" fmla="*/ 0 w 57"/>
                  <a:gd name="T3" fmla="*/ 33 h 73"/>
                  <a:gd name="T4" fmla="*/ 20 w 57"/>
                  <a:gd name="T5" fmla="*/ 73 h 73"/>
                  <a:gd name="T6" fmla="*/ 57 w 57"/>
                  <a:gd name="T7" fmla="*/ 37 h 73"/>
                  <a:gd name="T8" fmla="*/ 47 w 57"/>
                  <a:gd name="T9" fmla="*/ 0 h 73"/>
                  <a:gd name="T10" fmla="*/ 3 w 57"/>
                  <a:gd name="T11" fmla="*/ 17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73">
                    <a:moveTo>
                      <a:pt x="3" y="17"/>
                    </a:moveTo>
                    <a:lnTo>
                      <a:pt x="0" y="33"/>
                    </a:lnTo>
                    <a:lnTo>
                      <a:pt x="20" y="73"/>
                    </a:lnTo>
                    <a:lnTo>
                      <a:pt x="57" y="37"/>
                    </a:lnTo>
                    <a:lnTo>
                      <a:pt x="47" y="0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3" name="Freeform 79">
                <a:extLst>
                  <a:ext uri="{FF2B5EF4-FFF2-40B4-BE49-F238E27FC236}">
                    <a16:creationId xmlns:a16="http://schemas.microsoft.com/office/drawing/2014/main" id="{0DE40AAB-8A7B-449A-B24F-D95D2D851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2620963"/>
                <a:ext cx="12700" cy="20638"/>
              </a:xfrm>
              <a:custGeom>
                <a:avLst/>
                <a:gdLst>
                  <a:gd name="T0" fmla="*/ 0 w 40"/>
                  <a:gd name="T1" fmla="*/ 10 h 65"/>
                  <a:gd name="T2" fmla="*/ 34 w 40"/>
                  <a:gd name="T3" fmla="*/ 65 h 65"/>
                  <a:gd name="T4" fmla="*/ 40 w 40"/>
                  <a:gd name="T5" fmla="*/ 25 h 65"/>
                  <a:gd name="T6" fmla="*/ 26 w 40"/>
                  <a:gd name="T7" fmla="*/ 0 h 65"/>
                  <a:gd name="T8" fmla="*/ 0 w 40"/>
                  <a:gd name="T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65">
                    <a:moveTo>
                      <a:pt x="0" y="10"/>
                    </a:moveTo>
                    <a:lnTo>
                      <a:pt x="34" y="65"/>
                    </a:lnTo>
                    <a:lnTo>
                      <a:pt x="40" y="25"/>
                    </a:lnTo>
                    <a:lnTo>
                      <a:pt x="26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4" name="Freeform 80">
                <a:extLst>
                  <a:ext uri="{FF2B5EF4-FFF2-40B4-BE49-F238E27FC236}">
                    <a16:creationId xmlns:a16="http://schemas.microsoft.com/office/drawing/2014/main" id="{C4567362-6D41-4148-BE41-16E265367C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3138" y="2632075"/>
                <a:ext cx="14288" cy="17463"/>
              </a:xfrm>
              <a:custGeom>
                <a:avLst/>
                <a:gdLst>
                  <a:gd name="T0" fmla="*/ 0 w 46"/>
                  <a:gd name="T1" fmla="*/ 37 h 54"/>
                  <a:gd name="T2" fmla="*/ 31 w 46"/>
                  <a:gd name="T3" fmla="*/ 54 h 54"/>
                  <a:gd name="T4" fmla="*/ 46 w 46"/>
                  <a:gd name="T5" fmla="*/ 37 h 54"/>
                  <a:gd name="T6" fmla="*/ 10 w 46"/>
                  <a:gd name="T7" fmla="*/ 0 h 54"/>
                  <a:gd name="T8" fmla="*/ 0 w 46"/>
                  <a:gd name="T9" fmla="*/ 3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4">
                    <a:moveTo>
                      <a:pt x="0" y="37"/>
                    </a:moveTo>
                    <a:lnTo>
                      <a:pt x="31" y="54"/>
                    </a:lnTo>
                    <a:lnTo>
                      <a:pt x="46" y="37"/>
                    </a:lnTo>
                    <a:lnTo>
                      <a:pt x="10" y="0"/>
                    </a:lnTo>
                    <a:lnTo>
                      <a:pt x="0" y="3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5" name="Freeform 81">
                <a:extLst>
                  <a:ext uri="{FF2B5EF4-FFF2-40B4-BE49-F238E27FC236}">
                    <a16:creationId xmlns:a16="http://schemas.microsoft.com/office/drawing/2014/main" id="{26694E23-07EB-4362-BB8C-2DFF02722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050" y="2606675"/>
                <a:ext cx="15875" cy="28575"/>
              </a:xfrm>
              <a:custGeom>
                <a:avLst/>
                <a:gdLst>
                  <a:gd name="T0" fmla="*/ 0 w 47"/>
                  <a:gd name="T1" fmla="*/ 57 h 90"/>
                  <a:gd name="T2" fmla="*/ 21 w 47"/>
                  <a:gd name="T3" fmla="*/ 90 h 90"/>
                  <a:gd name="T4" fmla="*/ 43 w 47"/>
                  <a:gd name="T5" fmla="*/ 70 h 90"/>
                  <a:gd name="T6" fmla="*/ 47 w 47"/>
                  <a:gd name="T7" fmla="*/ 20 h 90"/>
                  <a:gd name="T8" fmla="*/ 30 w 47"/>
                  <a:gd name="T9" fmla="*/ 0 h 90"/>
                  <a:gd name="T10" fmla="*/ 0 w 47"/>
                  <a:gd name="T11" fmla="*/ 57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90">
                    <a:moveTo>
                      <a:pt x="0" y="57"/>
                    </a:moveTo>
                    <a:lnTo>
                      <a:pt x="21" y="90"/>
                    </a:lnTo>
                    <a:lnTo>
                      <a:pt x="43" y="70"/>
                    </a:lnTo>
                    <a:lnTo>
                      <a:pt x="47" y="20"/>
                    </a:lnTo>
                    <a:lnTo>
                      <a:pt x="30" y="0"/>
                    </a:lnTo>
                    <a:lnTo>
                      <a:pt x="0" y="5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6" name="Freeform 82">
                <a:extLst>
                  <a:ext uri="{FF2B5EF4-FFF2-40B4-BE49-F238E27FC236}">
                    <a16:creationId xmlns:a16="http://schemas.microsoft.com/office/drawing/2014/main" id="{0901808B-0586-4C46-9AFA-81AE415D0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9150" y="2574925"/>
                <a:ext cx="55563" cy="74613"/>
              </a:xfrm>
              <a:custGeom>
                <a:avLst/>
                <a:gdLst>
                  <a:gd name="T0" fmla="*/ 92 w 179"/>
                  <a:gd name="T1" fmla="*/ 0 h 238"/>
                  <a:gd name="T2" fmla="*/ 79 w 179"/>
                  <a:gd name="T3" fmla="*/ 6 h 238"/>
                  <a:gd name="T4" fmla="*/ 96 w 179"/>
                  <a:gd name="T5" fmla="*/ 27 h 238"/>
                  <a:gd name="T6" fmla="*/ 89 w 179"/>
                  <a:gd name="T7" fmla="*/ 60 h 238"/>
                  <a:gd name="T8" fmla="*/ 59 w 179"/>
                  <a:gd name="T9" fmla="*/ 43 h 238"/>
                  <a:gd name="T10" fmla="*/ 53 w 179"/>
                  <a:gd name="T11" fmla="*/ 80 h 238"/>
                  <a:gd name="T12" fmla="*/ 40 w 179"/>
                  <a:gd name="T13" fmla="*/ 110 h 238"/>
                  <a:gd name="T14" fmla="*/ 0 w 179"/>
                  <a:gd name="T15" fmla="*/ 73 h 238"/>
                  <a:gd name="T16" fmla="*/ 0 w 179"/>
                  <a:gd name="T17" fmla="*/ 103 h 238"/>
                  <a:gd name="T18" fmla="*/ 26 w 179"/>
                  <a:gd name="T19" fmla="*/ 154 h 238"/>
                  <a:gd name="T20" fmla="*/ 54 w 179"/>
                  <a:gd name="T21" fmla="*/ 203 h 238"/>
                  <a:gd name="T22" fmla="*/ 110 w 179"/>
                  <a:gd name="T23" fmla="*/ 196 h 238"/>
                  <a:gd name="T24" fmla="*/ 138 w 179"/>
                  <a:gd name="T25" fmla="*/ 238 h 238"/>
                  <a:gd name="T26" fmla="*/ 160 w 179"/>
                  <a:gd name="T27" fmla="*/ 208 h 238"/>
                  <a:gd name="T28" fmla="*/ 110 w 179"/>
                  <a:gd name="T29" fmla="*/ 182 h 238"/>
                  <a:gd name="T30" fmla="*/ 107 w 179"/>
                  <a:gd name="T31" fmla="*/ 152 h 238"/>
                  <a:gd name="T32" fmla="*/ 133 w 179"/>
                  <a:gd name="T33" fmla="*/ 146 h 238"/>
                  <a:gd name="T34" fmla="*/ 129 w 179"/>
                  <a:gd name="T35" fmla="*/ 96 h 238"/>
                  <a:gd name="T36" fmla="*/ 179 w 179"/>
                  <a:gd name="T37" fmla="*/ 102 h 238"/>
                  <a:gd name="T38" fmla="*/ 92 w 179"/>
                  <a:gd name="T3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9" h="238">
                    <a:moveTo>
                      <a:pt x="92" y="0"/>
                    </a:moveTo>
                    <a:lnTo>
                      <a:pt x="79" y="6"/>
                    </a:lnTo>
                    <a:lnTo>
                      <a:pt x="96" y="27"/>
                    </a:lnTo>
                    <a:lnTo>
                      <a:pt x="89" y="60"/>
                    </a:lnTo>
                    <a:lnTo>
                      <a:pt x="59" y="43"/>
                    </a:lnTo>
                    <a:lnTo>
                      <a:pt x="53" y="80"/>
                    </a:lnTo>
                    <a:lnTo>
                      <a:pt x="40" y="110"/>
                    </a:lnTo>
                    <a:lnTo>
                      <a:pt x="0" y="73"/>
                    </a:lnTo>
                    <a:lnTo>
                      <a:pt x="0" y="103"/>
                    </a:lnTo>
                    <a:lnTo>
                      <a:pt x="26" y="154"/>
                    </a:lnTo>
                    <a:lnTo>
                      <a:pt x="54" y="203"/>
                    </a:lnTo>
                    <a:lnTo>
                      <a:pt x="110" y="196"/>
                    </a:lnTo>
                    <a:lnTo>
                      <a:pt x="138" y="238"/>
                    </a:lnTo>
                    <a:lnTo>
                      <a:pt x="160" y="208"/>
                    </a:lnTo>
                    <a:lnTo>
                      <a:pt x="110" y="182"/>
                    </a:lnTo>
                    <a:lnTo>
                      <a:pt x="107" y="152"/>
                    </a:lnTo>
                    <a:lnTo>
                      <a:pt x="133" y="146"/>
                    </a:lnTo>
                    <a:lnTo>
                      <a:pt x="129" y="96"/>
                    </a:lnTo>
                    <a:lnTo>
                      <a:pt x="179" y="102"/>
                    </a:lnTo>
                    <a:lnTo>
                      <a:pt x="92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7" name="Freeform 83">
                <a:extLst>
                  <a:ext uri="{FF2B5EF4-FFF2-40B4-BE49-F238E27FC236}">
                    <a16:creationId xmlns:a16="http://schemas.microsoft.com/office/drawing/2014/main" id="{2B7EFC76-6603-44D1-B58F-5BEC38EF7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2001838"/>
                <a:ext cx="31750" cy="23813"/>
              </a:xfrm>
              <a:custGeom>
                <a:avLst/>
                <a:gdLst>
                  <a:gd name="T0" fmla="*/ 84 w 100"/>
                  <a:gd name="T1" fmla="*/ 3 h 74"/>
                  <a:gd name="T2" fmla="*/ 13 w 100"/>
                  <a:gd name="T3" fmla="*/ 0 h 74"/>
                  <a:gd name="T4" fmla="*/ 0 w 100"/>
                  <a:gd name="T5" fmla="*/ 20 h 74"/>
                  <a:gd name="T6" fmla="*/ 27 w 100"/>
                  <a:gd name="T7" fmla="*/ 74 h 74"/>
                  <a:gd name="T8" fmla="*/ 74 w 100"/>
                  <a:gd name="T9" fmla="*/ 62 h 74"/>
                  <a:gd name="T10" fmla="*/ 64 w 100"/>
                  <a:gd name="T11" fmla="*/ 34 h 74"/>
                  <a:gd name="T12" fmla="*/ 100 w 100"/>
                  <a:gd name="T13" fmla="*/ 39 h 74"/>
                  <a:gd name="T14" fmla="*/ 84 w 100"/>
                  <a:gd name="T15" fmla="*/ 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4">
                    <a:moveTo>
                      <a:pt x="84" y="3"/>
                    </a:moveTo>
                    <a:lnTo>
                      <a:pt x="13" y="0"/>
                    </a:lnTo>
                    <a:lnTo>
                      <a:pt x="0" y="20"/>
                    </a:lnTo>
                    <a:lnTo>
                      <a:pt x="27" y="74"/>
                    </a:lnTo>
                    <a:lnTo>
                      <a:pt x="74" y="62"/>
                    </a:lnTo>
                    <a:lnTo>
                      <a:pt x="64" y="34"/>
                    </a:lnTo>
                    <a:lnTo>
                      <a:pt x="100" y="39"/>
                    </a:lnTo>
                    <a:lnTo>
                      <a:pt x="84" y="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8" name="Freeform 84">
                <a:extLst>
                  <a:ext uri="{FF2B5EF4-FFF2-40B4-BE49-F238E27FC236}">
                    <a16:creationId xmlns:a16="http://schemas.microsoft.com/office/drawing/2014/main" id="{1316F54E-E801-4CC5-ABF1-87B47D1024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2513" y="2587625"/>
                <a:ext cx="20638" cy="15875"/>
              </a:xfrm>
              <a:custGeom>
                <a:avLst/>
                <a:gdLst>
                  <a:gd name="T0" fmla="*/ 34 w 64"/>
                  <a:gd name="T1" fmla="*/ 0 h 47"/>
                  <a:gd name="T2" fmla="*/ 0 w 64"/>
                  <a:gd name="T3" fmla="*/ 14 h 47"/>
                  <a:gd name="T4" fmla="*/ 32 w 64"/>
                  <a:gd name="T5" fmla="*/ 47 h 47"/>
                  <a:gd name="T6" fmla="*/ 64 w 64"/>
                  <a:gd name="T7" fmla="*/ 40 h 47"/>
                  <a:gd name="T8" fmla="*/ 64 w 64"/>
                  <a:gd name="T9" fmla="*/ 14 h 47"/>
                  <a:gd name="T10" fmla="*/ 34 w 64"/>
                  <a:gd name="T11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47">
                    <a:moveTo>
                      <a:pt x="34" y="0"/>
                    </a:moveTo>
                    <a:lnTo>
                      <a:pt x="0" y="14"/>
                    </a:lnTo>
                    <a:lnTo>
                      <a:pt x="32" y="47"/>
                    </a:lnTo>
                    <a:lnTo>
                      <a:pt x="64" y="40"/>
                    </a:lnTo>
                    <a:lnTo>
                      <a:pt x="64" y="14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9" name="Freeform 85">
                <a:extLst>
                  <a:ext uri="{FF2B5EF4-FFF2-40B4-BE49-F238E27FC236}">
                    <a16:creationId xmlns:a16="http://schemas.microsoft.com/office/drawing/2014/main" id="{C6C85EF4-C5D1-4931-8E11-B1880F8F3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188" y="2225675"/>
                <a:ext cx="22225" cy="25400"/>
              </a:xfrm>
              <a:custGeom>
                <a:avLst/>
                <a:gdLst>
                  <a:gd name="T0" fmla="*/ 39 w 70"/>
                  <a:gd name="T1" fmla="*/ 83 h 83"/>
                  <a:gd name="T2" fmla="*/ 39 w 70"/>
                  <a:gd name="T3" fmla="*/ 52 h 83"/>
                  <a:gd name="T4" fmla="*/ 70 w 70"/>
                  <a:gd name="T5" fmla="*/ 24 h 83"/>
                  <a:gd name="T6" fmla="*/ 51 w 70"/>
                  <a:gd name="T7" fmla="*/ 0 h 83"/>
                  <a:gd name="T8" fmla="*/ 0 w 70"/>
                  <a:gd name="T9" fmla="*/ 8 h 83"/>
                  <a:gd name="T10" fmla="*/ 0 w 70"/>
                  <a:gd name="T11" fmla="*/ 45 h 83"/>
                  <a:gd name="T12" fmla="*/ 2 w 70"/>
                  <a:gd name="T13" fmla="*/ 75 h 83"/>
                  <a:gd name="T14" fmla="*/ 39 w 70"/>
                  <a:gd name="T15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83">
                    <a:moveTo>
                      <a:pt x="39" y="83"/>
                    </a:moveTo>
                    <a:lnTo>
                      <a:pt x="39" y="52"/>
                    </a:lnTo>
                    <a:lnTo>
                      <a:pt x="70" y="24"/>
                    </a:lnTo>
                    <a:lnTo>
                      <a:pt x="51" y="0"/>
                    </a:lnTo>
                    <a:lnTo>
                      <a:pt x="0" y="8"/>
                    </a:lnTo>
                    <a:lnTo>
                      <a:pt x="0" y="45"/>
                    </a:lnTo>
                    <a:lnTo>
                      <a:pt x="2" y="75"/>
                    </a:lnTo>
                    <a:lnTo>
                      <a:pt x="39" y="8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0" name="Freeform 86">
                <a:extLst>
                  <a:ext uri="{FF2B5EF4-FFF2-40B4-BE49-F238E27FC236}">
                    <a16:creationId xmlns:a16="http://schemas.microsoft.com/office/drawing/2014/main" id="{64E81B36-E417-4362-85FD-484CA6792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3450" y="369888"/>
                <a:ext cx="1014413" cy="2316163"/>
              </a:xfrm>
              <a:custGeom>
                <a:avLst/>
                <a:gdLst>
                  <a:gd name="T0" fmla="*/ 2868 w 3193"/>
                  <a:gd name="T1" fmla="*/ 4722 h 7298"/>
                  <a:gd name="T2" fmla="*/ 2763 w 3193"/>
                  <a:gd name="T3" fmla="*/ 4200 h 7298"/>
                  <a:gd name="T4" fmla="*/ 2629 w 3193"/>
                  <a:gd name="T5" fmla="*/ 3736 h 7298"/>
                  <a:gd name="T6" fmla="*/ 2772 w 3193"/>
                  <a:gd name="T7" fmla="*/ 3406 h 7298"/>
                  <a:gd name="T8" fmla="*/ 2759 w 3193"/>
                  <a:gd name="T9" fmla="*/ 1922 h 7298"/>
                  <a:gd name="T10" fmla="*/ 2349 w 3193"/>
                  <a:gd name="T11" fmla="*/ 1491 h 7298"/>
                  <a:gd name="T12" fmla="*/ 2178 w 3193"/>
                  <a:gd name="T13" fmla="*/ 997 h 7298"/>
                  <a:gd name="T14" fmla="*/ 2084 w 3193"/>
                  <a:gd name="T15" fmla="*/ 1041 h 7298"/>
                  <a:gd name="T16" fmla="*/ 1953 w 3193"/>
                  <a:gd name="T17" fmla="*/ 1058 h 7298"/>
                  <a:gd name="T18" fmla="*/ 1949 w 3193"/>
                  <a:gd name="T19" fmla="*/ 962 h 7298"/>
                  <a:gd name="T20" fmla="*/ 1893 w 3193"/>
                  <a:gd name="T21" fmla="*/ 936 h 7298"/>
                  <a:gd name="T22" fmla="*/ 1941 w 3193"/>
                  <a:gd name="T23" fmla="*/ 875 h 7298"/>
                  <a:gd name="T24" fmla="*/ 2055 w 3193"/>
                  <a:gd name="T25" fmla="*/ 765 h 7298"/>
                  <a:gd name="T26" fmla="*/ 2186 w 3193"/>
                  <a:gd name="T27" fmla="*/ 675 h 7298"/>
                  <a:gd name="T28" fmla="*/ 2194 w 3193"/>
                  <a:gd name="T29" fmla="*/ 540 h 7298"/>
                  <a:gd name="T30" fmla="*/ 2232 w 3193"/>
                  <a:gd name="T31" fmla="*/ 581 h 7298"/>
                  <a:gd name="T32" fmla="*/ 2269 w 3193"/>
                  <a:gd name="T33" fmla="*/ 611 h 7298"/>
                  <a:gd name="T34" fmla="*/ 2251 w 3193"/>
                  <a:gd name="T35" fmla="*/ 648 h 7298"/>
                  <a:gd name="T36" fmla="*/ 2237 w 3193"/>
                  <a:gd name="T37" fmla="*/ 779 h 7298"/>
                  <a:gd name="T38" fmla="*/ 2179 w 3193"/>
                  <a:gd name="T39" fmla="*/ 934 h 7298"/>
                  <a:gd name="T40" fmla="*/ 2329 w 3193"/>
                  <a:gd name="T41" fmla="*/ 791 h 7298"/>
                  <a:gd name="T42" fmla="*/ 2116 w 3193"/>
                  <a:gd name="T43" fmla="*/ 69 h 7298"/>
                  <a:gd name="T44" fmla="*/ 1820 w 3193"/>
                  <a:gd name="T45" fmla="*/ 88 h 7298"/>
                  <a:gd name="T46" fmla="*/ 1551 w 3193"/>
                  <a:gd name="T47" fmla="*/ 280 h 7298"/>
                  <a:gd name="T48" fmla="*/ 1382 w 3193"/>
                  <a:gd name="T49" fmla="*/ 1055 h 7298"/>
                  <a:gd name="T50" fmla="*/ 979 w 3193"/>
                  <a:gd name="T51" fmla="*/ 1181 h 7298"/>
                  <a:gd name="T52" fmla="*/ 416 w 3193"/>
                  <a:gd name="T53" fmla="*/ 1140 h 7298"/>
                  <a:gd name="T54" fmla="*/ 42 w 3193"/>
                  <a:gd name="T55" fmla="*/ 702 h 7298"/>
                  <a:gd name="T56" fmla="*/ 0 w 3193"/>
                  <a:gd name="T57" fmla="*/ 908 h 7298"/>
                  <a:gd name="T58" fmla="*/ 226 w 3193"/>
                  <a:gd name="T59" fmla="*/ 1185 h 7298"/>
                  <a:gd name="T60" fmla="*/ 632 w 3193"/>
                  <a:gd name="T61" fmla="*/ 1397 h 7298"/>
                  <a:gd name="T62" fmla="*/ 858 w 3193"/>
                  <a:gd name="T63" fmla="*/ 1711 h 7298"/>
                  <a:gd name="T64" fmla="*/ 842 w 3193"/>
                  <a:gd name="T65" fmla="*/ 2165 h 7298"/>
                  <a:gd name="T66" fmla="*/ 832 w 3193"/>
                  <a:gd name="T67" fmla="*/ 2935 h 7298"/>
                  <a:gd name="T68" fmla="*/ 1105 w 3193"/>
                  <a:gd name="T69" fmla="*/ 3345 h 7298"/>
                  <a:gd name="T70" fmla="*/ 1285 w 3193"/>
                  <a:gd name="T71" fmla="*/ 3598 h 7298"/>
                  <a:gd name="T72" fmla="*/ 1404 w 3193"/>
                  <a:gd name="T73" fmla="*/ 3925 h 7298"/>
                  <a:gd name="T74" fmla="*/ 1311 w 3193"/>
                  <a:gd name="T75" fmla="*/ 3953 h 7298"/>
                  <a:gd name="T76" fmla="*/ 1313 w 3193"/>
                  <a:gd name="T77" fmla="*/ 4039 h 7298"/>
                  <a:gd name="T78" fmla="*/ 1113 w 3193"/>
                  <a:gd name="T79" fmla="*/ 4177 h 7298"/>
                  <a:gd name="T80" fmla="*/ 914 w 3193"/>
                  <a:gd name="T81" fmla="*/ 4528 h 7298"/>
                  <a:gd name="T82" fmla="*/ 729 w 3193"/>
                  <a:gd name="T83" fmla="*/ 4765 h 7298"/>
                  <a:gd name="T84" fmla="*/ 580 w 3193"/>
                  <a:gd name="T85" fmla="*/ 4879 h 7298"/>
                  <a:gd name="T86" fmla="*/ 482 w 3193"/>
                  <a:gd name="T87" fmla="*/ 5122 h 7298"/>
                  <a:gd name="T88" fmla="*/ 290 w 3193"/>
                  <a:gd name="T89" fmla="*/ 5164 h 7298"/>
                  <a:gd name="T90" fmla="*/ 241 w 3193"/>
                  <a:gd name="T91" fmla="*/ 5307 h 7298"/>
                  <a:gd name="T92" fmla="*/ 90 w 3193"/>
                  <a:gd name="T93" fmla="*/ 5633 h 7298"/>
                  <a:gd name="T94" fmla="*/ 109 w 3193"/>
                  <a:gd name="T95" fmla="*/ 5912 h 7298"/>
                  <a:gd name="T96" fmla="*/ 253 w 3193"/>
                  <a:gd name="T97" fmla="*/ 6276 h 7298"/>
                  <a:gd name="T98" fmla="*/ 138 w 3193"/>
                  <a:gd name="T99" fmla="*/ 6559 h 7298"/>
                  <a:gd name="T100" fmla="*/ 178 w 3193"/>
                  <a:gd name="T101" fmla="*/ 6828 h 7298"/>
                  <a:gd name="T102" fmla="*/ 559 w 3193"/>
                  <a:gd name="T103" fmla="*/ 7027 h 7298"/>
                  <a:gd name="T104" fmla="*/ 617 w 3193"/>
                  <a:gd name="T105" fmla="*/ 7090 h 7298"/>
                  <a:gd name="T106" fmla="*/ 647 w 3193"/>
                  <a:gd name="T107" fmla="*/ 7219 h 7298"/>
                  <a:gd name="T108" fmla="*/ 645 w 3193"/>
                  <a:gd name="T109" fmla="*/ 7298 h 7298"/>
                  <a:gd name="T110" fmla="*/ 831 w 3193"/>
                  <a:gd name="T111" fmla="*/ 7220 h 7298"/>
                  <a:gd name="T112" fmla="*/ 945 w 3193"/>
                  <a:gd name="T113" fmla="*/ 7219 h 7298"/>
                  <a:gd name="T114" fmla="*/ 1314 w 3193"/>
                  <a:gd name="T115" fmla="*/ 7080 h 7298"/>
                  <a:gd name="T116" fmla="*/ 1519 w 3193"/>
                  <a:gd name="T117" fmla="*/ 6961 h 7298"/>
                  <a:gd name="T118" fmla="*/ 1662 w 3193"/>
                  <a:gd name="T119" fmla="*/ 6950 h 7298"/>
                  <a:gd name="T120" fmla="*/ 1954 w 3193"/>
                  <a:gd name="T121" fmla="*/ 6885 h 7298"/>
                  <a:gd name="T122" fmla="*/ 2568 w 3193"/>
                  <a:gd name="T123" fmla="*/ 6176 h 7298"/>
                  <a:gd name="T124" fmla="*/ 3119 w 3193"/>
                  <a:gd name="T125" fmla="*/ 5218 h 7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93" h="7298">
                    <a:moveTo>
                      <a:pt x="3119" y="5218"/>
                    </a:moveTo>
                    <a:lnTo>
                      <a:pt x="3085" y="5115"/>
                    </a:lnTo>
                    <a:lnTo>
                      <a:pt x="2917" y="5051"/>
                    </a:lnTo>
                    <a:lnTo>
                      <a:pt x="2725" y="4867"/>
                    </a:lnTo>
                    <a:lnTo>
                      <a:pt x="2868" y="4722"/>
                    </a:lnTo>
                    <a:lnTo>
                      <a:pt x="2879" y="4474"/>
                    </a:lnTo>
                    <a:lnTo>
                      <a:pt x="2836" y="4474"/>
                    </a:lnTo>
                    <a:lnTo>
                      <a:pt x="2745" y="4398"/>
                    </a:lnTo>
                    <a:lnTo>
                      <a:pt x="2737" y="4233"/>
                    </a:lnTo>
                    <a:lnTo>
                      <a:pt x="2763" y="4200"/>
                    </a:lnTo>
                    <a:lnTo>
                      <a:pt x="2756" y="4133"/>
                    </a:lnTo>
                    <a:lnTo>
                      <a:pt x="2666" y="4137"/>
                    </a:lnTo>
                    <a:lnTo>
                      <a:pt x="2605" y="4045"/>
                    </a:lnTo>
                    <a:lnTo>
                      <a:pt x="2688" y="3894"/>
                    </a:lnTo>
                    <a:lnTo>
                      <a:pt x="2629" y="3736"/>
                    </a:lnTo>
                    <a:lnTo>
                      <a:pt x="2681" y="3622"/>
                    </a:lnTo>
                    <a:lnTo>
                      <a:pt x="2654" y="3527"/>
                    </a:lnTo>
                    <a:lnTo>
                      <a:pt x="2660" y="3470"/>
                    </a:lnTo>
                    <a:lnTo>
                      <a:pt x="2763" y="3452"/>
                    </a:lnTo>
                    <a:lnTo>
                      <a:pt x="2772" y="3406"/>
                    </a:lnTo>
                    <a:lnTo>
                      <a:pt x="2699" y="3304"/>
                    </a:lnTo>
                    <a:lnTo>
                      <a:pt x="2691" y="3191"/>
                    </a:lnTo>
                    <a:lnTo>
                      <a:pt x="2449" y="2692"/>
                    </a:lnTo>
                    <a:lnTo>
                      <a:pt x="2428" y="2516"/>
                    </a:lnTo>
                    <a:lnTo>
                      <a:pt x="2759" y="1922"/>
                    </a:lnTo>
                    <a:lnTo>
                      <a:pt x="2629" y="1858"/>
                    </a:lnTo>
                    <a:lnTo>
                      <a:pt x="2561" y="1735"/>
                    </a:lnTo>
                    <a:lnTo>
                      <a:pt x="2527" y="1659"/>
                    </a:lnTo>
                    <a:lnTo>
                      <a:pt x="2462" y="1570"/>
                    </a:lnTo>
                    <a:lnTo>
                      <a:pt x="2349" y="1491"/>
                    </a:lnTo>
                    <a:lnTo>
                      <a:pt x="2169" y="1257"/>
                    </a:lnTo>
                    <a:lnTo>
                      <a:pt x="2245" y="1064"/>
                    </a:lnTo>
                    <a:lnTo>
                      <a:pt x="2167" y="1015"/>
                    </a:lnTo>
                    <a:lnTo>
                      <a:pt x="2202" y="997"/>
                    </a:lnTo>
                    <a:lnTo>
                      <a:pt x="2178" y="997"/>
                    </a:lnTo>
                    <a:lnTo>
                      <a:pt x="2133" y="970"/>
                    </a:lnTo>
                    <a:lnTo>
                      <a:pt x="2103" y="972"/>
                    </a:lnTo>
                    <a:lnTo>
                      <a:pt x="2115" y="1009"/>
                    </a:lnTo>
                    <a:lnTo>
                      <a:pt x="2117" y="1039"/>
                    </a:lnTo>
                    <a:lnTo>
                      <a:pt x="2084" y="1041"/>
                    </a:lnTo>
                    <a:lnTo>
                      <a:pt x="2068" y="1011"/>
                    </a:lnTo>
                    <a:lnTo>
                      <a:pt x="2038" y="1026"/>
                    </a:lnTo>
                    <a:lnTo>
                      <a:pt x="2044" y="1067"/>
                    </a:lnTo>
                    <a:lnTo>
                      <a:pt x="1999" y="1089"/>
                    </a:lnTo>
                    <a:lnTo>
                      <a:pt x="1953" y="1058"/>
                    </a:lnTo>
                    <a:lnTo>
                      <a:pt x="1928" y="1014"/>
                    </a:lnTo>
                    <a:lnTo>
                      <a:pt x="1961" y="1019"/>
                    </a:lnTo>
                    <a:lnTo>
                      <a:pt x="1981" y="1009"/>
                    </a:lnTo>
                    <a:lnTo>
                      <a:pt x="1952" y="982"/>
                    </a:lnTo>
                    <a:lnTo>
                      <a:pt x="1949" y="962"/>
                    </a:lnTo>
                    <a:lnTo>
                      <a:pt x="1934" y="997"/>
                    </a:lnTo>
                    <a:lnTo>
                      <a:pt x="1902" y="990"/>
                    </a:lnTo>
                    <a:lnTo>
                      <a:pt x="1886" y="960"/>
                    </a:lnTo>
                    <a:lnTo>
                      <a:pt x="1913" y="951"/>
                    </a:lnTo>
                    <a:lnTo>
                      <a:pt x="1893" y="936"/>
                    </a:lnTo>
                    <a:lnTo>
                      <a:pt x="1866" y="946"/>
                    </a:lnTo>
                    <a:lnTo>
                      <a:pt x="1850" y="926"/>
                    </a:lnTo>
                    <a:lnTo>
                      <a:pt x="1867" y="879"/>
                    </a:lnTo>
                    <a:lnTo>
                      <a:pt x="1908" y="877"/>
                    </a:lnTo>
                    <a:lnTo>
                      <a:pt x="1941" y="875"/>
                    </a:lnTo>
                    <a:lnTo>
                      <a:pt x="1962" y="856"/>
                    </a:lnTo>
                    <a:lnTo>
                      <a:pt x="1953" y="806"/>
                    </a:lnTo>
                    <a:lnTo>
                      <a:pt x="1998" y="770"/>
                    </a:lnTo>
                    <a:lnTo>
                      <a:pt x="2023" y="775"/>
                    </a:lnTo>
                    <a:lnTo>
                      <a:pt x="2055" y="765"/>
                    </a:lnTo>
                    <a:lnTo>
                      <a:pt x="2069" y="722"/>
                    </a:lnTo>
                    <a:lnTo>
                      <a:pt x="2125" y="730"/>
                    </a:lnTo>
                    <a:lnTo>
                      <a:pt x="2146" y="701"/>
                    </a:lnTo>
                    <a:lnTo>
                      <a:pt x="2182" y="719"/>
                    </a:lnTo>
                    <a:lnTo>
                      <a:pt x="2186" y="675"/>
                    </a:lnTo>
                    <a:lnTo>
                      <a:pt x="2161" y="654"/>
                    </a:lnTo>
                    <a:lnTo>
                      <a:pt x="2140" y="654"/>
                    </a:lnTo>
                    <a:lnTo>
                      <a:pt x="2125" y="611"/>
                    </a:lnTo>
                    <a:lnTo>
                      <a:pt x="2149" y="572"/>
                    </a:lnTo>
                    <a:lnTo>
                      <a:pt x="2194" y="540"/>
                    </a:lnTo>
                    <a:lnTo>
                      <a:pt x="2208" y="583"/>
                    </a:lnTo>
                    <a:lnTo>
                      <a:pt x="2198" y="622"/>
                    </a:lnTo>
                    <a:lnTo>
                      <a:pt x="2221" y="650"/>
                    </a:lnTo>
                    <a:lnTo>
                      <a:pt x="2245" y="621"/>
                    </a:lnTo>
                    <a:lnTo>
                      <a:pt x="2232" y="581"/>
                    </a:lnTo>
                    <a:lnTo>
                      <a:pt x="2241" y="521"/>
                    </a:lnTo>
                    <a:lnTo>
                      <a:pt x="2281" y="515"/>
                    </a:lnTo>
                    <a:lnTo>
                      <a:pt x="2286" y="538"/>
                    </a:lnTo>
                    <a:lnTo>
                      <a:pt x="2263" y="561"/>
                    </a:lnTo>
                    <a:lnTo>
                      <a:pt x="2269" y="611"/>
                    </a:lnTo>
                    <a:lnTo>
                      <a:pt x="2296" y="572"/>
                    </a:lnTo>
                    <a:lnTo>
                      <a:pt x="2330" y="530"/>
                    </a:lnTo>
                    <a:lnTo>
                      <a:pt x="2342" y="570"/>
                    </a:lnTo>
                    <a:lnTo>
                      <a:pt x="2329" y="613"/>
                    </a:lnTo>
                    <a:lnTo>
                      <a:pt x="2251" y="648"/>
                    </a:lnTo>
                    <a:lnTo>
                      <a:pt x="2253" y="677"/>
                    </a:lnTo>
                    <a:lnTo>
                      <a:pt x="2263" y="684"/>
                    </a:lnTo>
                    <a:lnTo>
                      <a:pt x="2272" y="731"/>
                    </a:lnTo>
                    <a:lnTo>
                      <a:pt x="2231" y="762"/>
                    </a:lnTo>
                    <a:lnTo>
                      <a:pt x="2237" y="779"/>
                    </a:lnTo>
                    <a:lnTo>
                      <a:pt x="2216" y="809"/>
                    </a:lnTo>
                    <a:lnTo>
                      <a:pt x="2169" y="818"/>
                    </a:lnTo>
                    <a:lnTo>
                      <a:pt x="2132" y="883"/>
                    </a:lnTo>
                    <a:lnTo>
                      <a:pt x="2166" y="937"/>
                    </a:lnTo>
                    <a:lnTo>
                      <a:pt x="2179" y="934"/>
                    </a:lnTo>
                    <a:lnTo>
                      <a:pt x="2226" y="958"/>
                    </a:lnTo>
                    <a:lnTo>
                      <a:pt x="2206" y="995"/>
                    </a:lnTo>
                    <a:lnTo>
                      <a:pt x="2274" y="961"/>
                    </a:lnTo>
                    <a:lnTo>
                      <a:pt x="2256" y="895"/>
                    </a:lnTo>
                    <a:lnTo>
                      <a:pt x="2329" y="791"/>
                    </a:lnTo>
                    <a:lnTo>
                      <a:pt x="2341" y="645"/>
                    </a:lnTo>
                    <a:lnTo>
                      <a:pt x="2473" y="425"/>
                    </a:lnTo>
                    <a:lnTo>
                      <a:pt x="2430" y="245"/>
                    </a:lnTo>
                    <a:lnTo>
                      <a:pt x="2264" y="201"/>
                    </a:lnTo>
                    <a:lnTo>
                      <a:pt x="2116" y="69"/>
                    </a:lnTo>
                    <a:lnTo>
                      <a:pt x="2003" y="0"/>
                    </a:lnTo>
                    <a:lnTo>
                      <a:pt x="1955" y="35"/>
                    </a:lnTo>
                    <a:lnTo>
                      <a:pt x="1895" y="25"/>
                    </a:lnTo>
                    <a:lnTo>
                      <a:pt x="1860" y="105"/>
                    </a:lnTo>
                    <a:lnTo>
                      <a:pt x="1820" y="88"/>
                    </a:lnTo>
                    <a:lnTo>
                      <a:pt x="1793" y="115"/>
                    </a:lnTo>
                    <a:lnTo>
                      <a:pt x="1733" y="66"/>
                    </a:lnTo>
                    <a:lnTo>
                      <a:pt x="1682" y="77"/>
                    </a:lnTo>
                    <a:lnTo>
                      <a:pt x="1657" y="193"/>
                    </a:lnTo>
                    <a:lnTo>
                      <a:pt x="1551" y="280"/>
                    </a:lnTo>
                    <a:lnTo>
                      <a:pt x="1510" y="440"/>
                    </a:lnTo>
                    <a:lnTo>
                      <a:pt x="1550" y="572"/>
                    </a:lnTo>
                    <a:lnTo>
                      <a:pt x="1459" y="677"/>
                    </a:lnTo>
                    <a:lnTo>
                      <a:pt x="1480" y="855"/>
                    </a:lnTo>
                    <a:lnTo>
                      <a:pt x="1382" y="1055"/>
                    </a:lnTo>
                    <a:lnTo>
                      <a:pt x="1293" y="1102"/>
                    </a:lnTo>
                    <a:lnTo>
                      <a:pt x="1247" y="1273"/>
                    </a:lnTo>
                    <a:lnTo>
                      <a:pt x="1157" y="1283"/>
                    </a:lnTo>
                    <a:lnTo>
                      <a:pt x="1063" y="1175"/>
                    </a:lnTo>
                    <a:lnTo>
                      <a:pt x="979" y="1181"/>
                    </a:lnTo>
                    <a:lnTo>
                      <a:pt x="955" y="1092"/>
                    </a:lnTo>
                    <a:lnTo>
                      <a:pt x="886" y="1122"/>
                    </a:lnTo>
                    <a:lnTo>
                      <a:pt x="833" y="1236"/>
                    </a:lnTo>
                    <a:lnTo>
                      <a:pt x="686" y="1247"/>
                    </a:lnTo>
                    <a:lnTo>
                      <a:pt x="416" y="1140"/>
                    </a:lnTo>
                    <a:lnTo>
                      <a:pt x="384" y="1018"/>
                    </a:lnTo>
                    <a:lnTo>
                      <a:pt x="276" y="863"/>
                    </a:lnTo>
                    <a:lnTo>
                      <a:pt x="246" y="767"/>
                    </a:lnTo>
                    <a:lnTo>
                      <a:pt x="148" y="674"/>
                    </a:lnTo>
                    <a:lnTo>
                      <a:pt x="42" y="702"/>
                    </a:lnTo>
                    <a:lnTo>
                      <a:pt x="36" y="776"/>
                    </a:lnTo>
                    <a:lnTo>
                      <a:pt x="77" y="855"/>
                    </a:lnTo>
                    <a:lnTo>
                      <a:pt x="37" y="898"/>
                    </a:lnTo>
                    <a:lnTo>
                      <a:pt x="7" y="885"/>
                    </a:lnTo>
                    <a:lnTo>
                      <a:pt x="0" y="908"/>
                    </a:lnTo>
                    <a:lnTo>
                      <a:pt x="28" y="964"/>
                    </a:lnTo>
                    <a:lnTo>
                      <a:pt x="85" y="1014"/>
                    </a:lnTo>
                    <a:lnTo>
                      <a:pt x="123" y="1070"/>
                    </a:lnTo>
                    <a:lnTo>
                      <a:pt x="163" y="1090"/>
                    </a:lnTo>
                    <a:lnTo>
                      <a:pt x="226" y="1185"/>
                    </a:lnTo>
                    <a:lnTo>
                      <a:pt x="300" y="1198"/>
                    </a:lnTo>
                    <a:lnTo>
                      <a:pt x="378" y="1326"/>
                    </a:lnTo>
                    <a:lnTo>
                      <a:pt x="471" y="1319"/>
                    </a:lnTo>
                    <a:lnTo>
                      <a:pt x="508" y="1348"/>
                    </a:lnTo>
                    <a:lnTo>
                      <a:pt x="632" y="1397"/>
                    </a:lnTo>
                    <a:lnTo>
                      <a:pt x="703" y="1582"/>
                    </a:lnTo>
                    <a:lnTo>
                      <a:pt x="730" y="1589"/>
                    </a:lnTo>
                    <a:lnTo>
                      <a:pt x="780" y="1559"/>
                    </a:lnTo>
                    <a:lnTo>
                      <a:pt x="797" y="1651"/>
                    </a:lnTo>
                    <a:lnTo>
                      <a:pt x="858" y="1711"/>
                    </a:lnTo>
                    <a:lnTo>
                      <a:pt x="855" y="1783"/>
                    </a:lnTo>
                    <a:lnTo>
                      <a:pt x="809" y="1831"/>
                    </a:lnTo>
                    <a:lnTo>
                      <a:pt x="820" y="2006"/>
                    </a:lnTo>
                    <a:lnTo>
                      <a:pt x="791" y="2109"/>
                    </a:lnTo>
                    <a:lnTo>
                      <a:pt x="842" y="2165"/>
                    </a:lnTo>
                    <a:lnTo>
                      <a:pt x="849" y="2264"/>
                    </a:lnTo>
                    <a:lnTo>
                      <a:pt x="783" y="2312"/>
                    </a:lnTo>
                    <a:lnTo>
                      <a:pt x="853" y="2660"/>
                    </a:lnTo>
                    <a:lnTo>
                      <a:pt x="944" y="2722"/>
                    </a:lnTo>
                    <a:lnTo>
                      <a:pt x="832" y="2935"/>
                    </a:lnTo>
                    <a:lnTo>
                      <a:pt x="853" y="3071"/>
                    </a:lnTo>
                    <a:lnTo>
                      <a:pt x="1005" y="3313"/>
                    </a:lnTo>
                    <a:lnTo>
                      <a:pt x="1016" y="3342"/>
                    </a:lnTo>
                    <a:lnTo>
                      <a:pt x="1070" y="3375"/>
                    </a:lnTo>
                    <a:lnTo>
                      <a:pt x="1105" y="3345"/>
                    </a:lnTo>
                    <a:lnTo>
                      <a:pt x="1145" y="3320"/>
                    </a:lnTo>
                    <a:lnTo>
                      <a:pt x="1173" y="3443"/>
                    </a:lnTo>
                    <a:lnTo>
                      <a:pt x="1227" y="3496"/>
                    </a:lnTo>
                    <a:lnTo>
                      <a:pt x="1277" y="3505"/>
                    </a:lnTo>
                    <a:lnTo>
                      <a:pt x="1285" y="3598"/>
                    </a:lnTo>
                    <a:lnTo>
                      <a:pt x="1375" y="3657"/>
                    </a:lnTo>
                    <a:lnTo>
                      <a:pt x="1393" y="3724"/>
                    </a:lnTo>
                    <a:lnTo>
                      <a:pt x="1356" y="3767"/>
                    </a:lnTo>
                    <a:lnTo>
                      <a:pt x="1357" y="3853"/>
                    </a:lnTo>
                    <a:lnTo>
                      <a:pt x="1404" y="3925"/>
                    </a:lnTo>
                    <a:lnTo>
                      <a:pt x="1395" y="3956"/>
                    </a:lnTo>
                    <a:lnTo>
                      <a:pt x="1358" y="3957"/>
                    </a:lnTo>
                    <a:lnTo>
                      <a:pt x="1325" y="3913"/>
                    </a:lnTo>
                    <a:lnTo>
                      <a:pt x="1308" y="3917"/>
                    </a:lnTo>
                    <a:lnTo>
                      <a:pt x="1311" y="3953"/>
                    </a:lnTo>
                    <a:lnTo>
                      <a:pt x="1358" y="4009"/>
                    </a:lnTo>
                    <a:lnTo>
                      <a:pt x="1356" y="4076"/>
                    </a:lnTo>
                    <a:lnTo>
                      <a:pt x="1363" y="4103"/>
                    </a:lnTo>
                    <a:lnTo>
                      <a:pt x="1346" y="4099"/>
                    </a:lnTo>
                    <a:lnTo>
                      <a:pt x="1313" y="4039"/>
                    </a:lnTo>
                    <a:lnTo>
                      <a:pt x="1293" y="4027"/>
                    </a:lnTo>
                    <a:lnTo>
                      <a:pt x="1229" y="4037"/>
                    </a:lnTo>
                    <a:lnTo>
                      <a:pt x="1186" y="4087"/>
                    </a:lnTo>
                    <a:lnTo>
                      <a:pt x="1135" y="4078"/>
                    </a:lnTo>
                    <a:lnTo>
                      <a:pt x="1113" y="4177"/>
                    </a:lnTo>
                    <a:lnTo>
                      <a:pt x="1022" y="4338"/>
                    </a:lnTo>
                    <a:lnTo>
                      <a:pt x="959" y="4408"/>
                    </a:lnTo>
                    <a:lnTo>
                      <a:pt x="969" y="4451"/>
                    </a:lnTo>
                    <a:lnTo>
                      <a:pt x="926" y="4475"/>
                    </a:lnTo>
                    <a:lnTo>
                      <a:pt x="914" y="4528"/>
                    </a:lnTo>
                    <a:lnTo>
                      <a:pt x="853" y="4568"/>
                    </a:lnTo>
                    <a:lnTo>
                      <a:pt x="821" y="4632"/>
                    </a:lnTo>
                    <a:lnTo>
                      <a:pt x="788" y="4615"/>
                    </a:lnTo>
                    <a:lnTo>
                      <a:pt x="774" y="4699"/>
                    </a:lnTo>
                    <a:lnTo>
                      <a:pt x="729" y="4765"/>
                    </a:lnTo>
                    <a:lnTo>
                      <a:pt x="695" y="4765"/>
                    </a:lnTo>
                    <a:lnTo>
                      <a:pt x="670" y="4809"/>
                    </a:lnTo>
                    <a:lnTo>
                      <a:pt x="643" y="4819"/>
                    </a:lnTo>
                    <a:lnTo>
                      <a:pt x="613" y="4882"/>
                    </a:lnTo>
                    <a:lnTo>
                      <a:pt x="580" y="4879"/>
                    </a:lnTo>
                    <a:lnTo>
                      <a:pt x="504" y="4956"/>
                    </a:lnTo>
                    <a:lnTo>
                      <a:pt x="505" y="5026"/>
                    </a:lnTo>
                    <a:lnTo>
                      <a:pt x="451" y="4983"/>
                    </a:lnTo>
                    <a:lnTo>
                      <a:pt x="451" y="5040"/>
                    </a:lnTo>
                    <a:lnTo>
                      <a:pt x="482" y="5122"/>
                    </a:lnTo>
                    <a:lnTo>
                      <a:pt x="439" y="5137"/>
                    </a:lnTo>
                    <a:lnTo>
                      <a:pt x="402" y="5180"/>
                    </a:lnTo>
                    <a:lnTo>
                      <a:pt x="347" y="5227"/>
                    </a:lnTo>
                    <a:lnTo>
                      <a:pt x="353" y="5193"/>
                    </a:lnTo>
                    <a:lnTo>
                      <a:pt x="290" y="5164"/>
                    </a:lnTo>
                    <a:lnTo>
                      <a:pt x="316" y="5220"/>
                    </a:lnTo>
                    <a:lnTo>
                      <a:pt x="263" y="5181"/>
                    </a:lnTo>
                    <a:lnTo>
                      <a:pt x="219" y="5211"/>
                    </a:lnTo>
                    <a:lnTo>
                      <a:pt x="197" y="5258"/>
                    </a:lnTo>
                    <a:lnTo>
                      <a:pt x="241" y="5307"/>
                    </a:lnTo>
                    <a:lnTo>
                      <a:pt x="194" y="5330"/>
                    </a:lnTo>
                    <a:lnTo>
                      <a:pt x="148" y="5404"/>
                    </a:lnTo>
                    <a:lnTo>
                      <a:pt x="95" y="5418"/>
                    </a:lnTo>
                    <a:lnTo>
                      <a:pt x="66" y="5544"/>
                    </a:lnTo>
                    <a:lnTo>
                      <a:pt x="90" y="5633"/>
                    </a:lnTo>
                    <a:lnTo>
                      <a:pt x="81" y="5737"/>
                    </a:lnTo>
                    <a:lnTo>
                      <a:pt x="111" y="5749"/>
                    </a:lnTo>
                    <a:lnTo>
                      <a:pt x="131" y="5729"/>
                    </a:lnTo>
                    <a:lnTo>
                      <a:pt x="152" y="5816"/>
                    </a:lnTo>
                    <a:lnTo>
                      <a:pt x="109" y="5912"/>
                    </a:lnTo>
                    <a:lnTo>
                      <a:pt x="110" y="5965"/>
                    </a:lnTo>
                    <a:lnTo>
                      <a:pt x="201" y="6045"/>
                    </a:lnTo>
                    <a:lnTo>
                      <a:pt x="195" y="6157"/>
                    </a:lnTo>
                    <a:lnTo>
                      <a:pt x="263" y="6263"/>
                    </a:lnTo>
                    <a:lnTo>
                      <a:pt x="253" y="6276"/>
                    </a:lnTo>
                    <a:lnTo>
                      <a:pt x="216" y="6227"/>
                    </a:lnTo>
                    <a:lnTo>
                      <a:pt x="173" y="6287"/>
                    </a:lnTo>
                    <a:lnTo>
                      <a:pt x="191" y="6380"/>
                    </a:lnTo>
                    <a:lnTo>
                      <a:pt x="185" y="6506"/>
                    </a:lnTo>
                    <a:lnTo>
                      <a:pt x="138" y="6559"/>
                    </a:lnTo>
                    <a:lnTo>
                      <a:pt x="169" y="6632"/>
                    </a:lnTo>
                    <a:lnTo>
                      <a:pt x="157" y="6699"/>
                    </a:lnTo>
                    <a:lnTo>
                      <a:pt x="187" y="6748"/>
                    </a:lnTo>
                    <a:lnTo>
                      <a:pt x="147" y="6785"/>
                    </a:lnTo>
                    <a:lnTo>
                      <a:pt x="178" y="6828"/>
                    </a:lnTo>
                    <a:lnTo>
                      <a:pt x="284" y="6820"/>
                    </a:lnTo>
                    <a:lnTo>
                      <a:pt x="379" y="6912"/>
                    </a:lnTo>
                    <a:lnTo>
                      <a:pt x="523" y="6964"/>
                    </a:lnTo>
                    <a:lnTo>
                      <a:pt x="513" y="7007"/>
                    </a:lnTo>
                    <a:lnTo>
                      <a:pt x="559" y="7027"/>
                    </a:lnTo>
                    <a:lnTo>
                      <a:pt x="630" y="6993"/>
                    </a:lnTo>
                    <a:lnTo>
                      <a:pt x="689" y="6959"/>
                    </a:lnTo>
                    <a:lnTo>
                      <a:pt x="680" y="6999"/>
                    </a:lnTo>
                    <a:lnTo>
                      <a:pt x="646" y="7043"/>
                    </a:lnTo>
                    <a:lnTo>
                      <a:pt x="617" y="7090"/>
                    </a:lnTo>
                    <a:lnTo>
                      <a:pt x="580" y="7106"/>
                    </a:lnTo>
                    <a:lnTo>
                      <a:pt x="550" y="7160"/>
                    </a:lnTo>
                    <a:lnTo>
                      <a:pt x="565" y="7193"/>
                    </a:lnTo>
                    <a:lnTo>
                      <a:pt x="598" y="7216"/>
                    </a:lnTo>
                    <a:lnTo>
                      <a:pt x="647" y="7219"/>
                    </a:lnTo>
                    <a:lnTo>
                      <a:pt x="687" y="7199"/>
                    </a:lnTo>
                    <a:lnTo>
                      <a:pt x="711" y="7224"/>
                    </a:lnTo>
                    <a:lnTo>
                      <a:pt x="715" y="7255"/>
                    </a:lnTo>
                    <a:lnTo>
                      <a:pt x="675" y="7258"/>
                    </a:lnTo>
                    <a:lnTo>
                      <a:pt x="645" y="7298"/>
                    </a:lnTo>
                    <a:lnTo>
                      <a:pt x="712" y="7298"/>
                    </a:lnTo>
                    <a:lnTo>
                      <a:pt x="732" y="7261"/>
                    </a:lnTo>
                    <a:lnTo>
                      <a:pt x="808" y="7158"/>
                    </a:lnTo>
                    <a:lnTo>
                      <a:pt x="841" y="7190"/>
                    </a:lnTo>
                    <a:lnTo>
                      <a:pt x="831" y="7220"/>
                    </a:lnTo>
                    <a:lnTo>
                      <a:pt x="798" y="7237"/>
                    </a:lnTo>
                    <a:lnTo>
                      <a:pt x="845" y="7257"/>
                    </a:lnTo>
                    <a:lnTo>
                      <a:pt x="861" y="7200"/>
                    </a:lnTo>
                    <a:lnTo>
                      <a:pt x="885" y="7180"/>
                    </a:lnTo>
                    <a:lnTo>
                      <a:pt x="945" y="7219"/>
                    </a:lnTo>
                    <a:lnTo>
                      <a:pt x="1034" y="7159"/>
                    </a:lnTo>
                    <a:lnTo>
                      <a:pt x="1124" y="7181"/>
                    </a:lnTo>
                    <a:lnTo>
                      <a:pt x="1150" y="7111"/>
                    </a:lnTo>
                    <a:lnTo>
                      <a:pt x="1237" y="7077"/>
                    </a:lnTo>
                    <a:lnTo>
                      <a:pt x="1314" y="7080"/>
                    </a:lnTo>
                    <a:lnTo>
                      <a:pt x="1359" y="7033"/>
                    </a:lnTo>
                    <a:lnTo>
                      <a:pt x="1420" y="7006"/>
                    </a:lnTo>
                    <a:lnTo>
                      <a:pt x="1449" y="6969"/>
                    </a:lnTo>
                    <a:lnTo>
                      <a:pt x="1482" y="6998"/>
                    </a:lnTo>
                    <a:lnTo>
                      <a:pt x="1519" y="6961"/>
                    </a:lnTo>
                    <a:lnTo>
                      <a:pt x="1559" y="6972"/>
                    </a:lnTo>
                    <a:lnTo>
                      <a:pt x="1541" y="6908"/>
                    </a:lnTo>
                    <a:lnTo>
                      <a:pt x="1561" y="6885"/>
                    </a:lnTo>
                    <a:lnTo>
                      <a:pt x="1576" y="6968"/>
                    </a:lnTo>
                    <a:lnTo>
                      <a:pt x="1662" y="6950"/>
                    </a:lnTo>
                    <a:lnTo>
                      <a:pt x="1685" y="6910"/>
                    </a:lnTo>
                    <a:lnTo>
                      <a:pt x="1755" y="6924"/>
                    </a:lnTo>
                    <a:lnTo>
                      <a:pt x="1818" y="6886"/>
                    </a:lnTo>
                    <a:lnTo>
                      <a:pt x="1914" y="6872"/>
                    </a:lnTo>
                    <a:lnTo>
                      <a:pt x="1954" y="6885"/>
                    </a:lnTo>
                    <a:lnTo>
                      <a:pt x="2035" y="6881"/>
                    </a:lnTo>
                    <a:lnTo>
                      <a:pt x="2071" y="6843"/>
                    </a:lnTo>
                    <a:lnTo>
                      <a:pt x="2159" y="6641"/>
                    </a:lnTo>
                    <a:lnTo>
                      <a:pt x="2529" y="6345"/>
                    </a:lnTo>
                    <a:lnTo>
                      <a:pt x="2568" y="6176"/>
                    </a:lnTo>
                    <a:lnTo>
                      <a:pt x="2839" y="5944"/>
                    </a:lnTo>
                    <a:lnTo>
                      <a:pt x="3083" y="5650"/>
                    </a:lnTo>
                    <a:lnTo>
                      <a:pt x="3188" y="5426"/>
                    </a:lnTo>
                    <a:lnTo>
                      <a:pt x="3193" y="5287"/>
                    </a:lnTo>
                    <a:lnTo>
                      <a:pt x="3119" y="5218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1" name="Freeform 87">
                <a:extLst>
                  <a:ext uri="{FF2B5EF4-FFF2-40B4-BE49-F238E27FC236}">
                    <a16:creationId xmlns:a16="http://schemas.microsoft.com/office/drawing/2014/main" id="{CD838BDE-988F-4237-BF41-DE3EE513D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9188" y="1871663"/>
                <a:ext cx="22225" cy="25400"/>
              </a:xfrm>
              <a:custGeom>
                <a:avLst/>
                <a:gdLst>
                  <a:gd name="T0" fmla="*/ 66 w 66"/>
                  <a:gd name="T1" fmla="*/ 46 h 79"/>
                  <a:gd name="T2" fmla="*/ 36 w 66"/>
                  <a:gd name="T3" fmla="*/ 0 h 79"/>
                  <a:gd name="T4" fmla="*/ 0 w 66"/>
                  <a:gd name="T5" fmla="*/ 53 h 79"/>
                  <a:gd name="T6" fmla="*/ 44 w 66"/>
                  <a:gd name="T7" fmla="*/ 79 h 79"/>
                  <a:gd name="T8" fmla="*/ 66 w 66"/>
                  <a:gd name="T9" fmla="*/ 4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79">
                    <a:moveTo>
                      <a:pt x="66" y="46"/>
                    </a:moveTo>
                    <a:lnTo>
                      <a:pt x="36" y="0"/>
                    </a:lnTo>
                    <a:lnTo>
                      <a:pt x="0" y="53"/>
                    </a:lnTo>
                    <a:lnTo>
                      <a:pt x="44" y="79"/>
                    </a:lnTo>
                    <a:lnTo>
                      <a:pt x="66" y="4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2" name="Freeform 88">
                <a:extLst>
                  <a:ext uri="{FF2B5EF4-FFF2-40B4-BE49-F238E27FC236}">
                    <a16:creationId xmlns:a16="http://schemas.microsoft.com/office/drawing/2014/main" id="{CB505640-E296-4C0C-9B1E-AE99D7841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575" y="1603375"/>
                <a:ext cx="41275" cy="25400"/>
              </a:xfrm>
              <a:custGeom>
                <a:avLst/>
                <a:gdLst>
                  <a:gd name="T0" fmla="*/ 130 w 130"/>
                  <a:gd name="T1" fmla="*/ 16 h 83"/>
                  <a:gd name="T2" fmla="*/ 80 w 130"/>
                  <a:gd name="T3" fmla="*/ 9 h 83"/>
                  <a:gd name="T4" fmla="*/ 26 w 130"/>
                  <a:gd name="T5" fmla="*/ 0 h 83"/>
                  <a:gd name="T6" fmla="*/ 0 w 130"/>
                  <a:gd name="T7" fmla="*/ 17 h 83"/>
                  <a:gd name="T8" fmla="*/ 0 w 130"/>
                  <a:gd name="T9" fmla="*/ 53 h 83"/>
                  <a:gd name="T10" fmla="*/ 36 w 130"/>
                  <a:gd name="T11" fmla="*/ 73 h 83"/>
                  <a:gd name="T12" fmla="*/ 43 w 130"/>
                  <a:gd name="T13" fmla="*/ 43 h 83"/>
                  <a:gd name="T14" fmla="*/ 70 w 130"/>
                  <a:gd name="T15" fmla="*/ 83 h 83"/>
                  <a:gd name="T16" fmla="*/ 87 w 130"/>
                  <a:gd name="T17" fmla="*/ 76 h 83"/>
                  <a:gd name="T18" fmla="*/ 80 w 130"/>
                  <a:gd name="T19" fmla="*/ 43 h 83"/>
                  <a:gd name="T20" fmla="*/ 117 w 130"/>
                  <a:gd name="T21" fmla="*/ 29 h 83"/>
                  <a:gd name="T22" fmla="*/ 130 w 130"/>
                  <a:gd name="T23" fmla="*/ 1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0" h="83">
                    <a:moveTo>
                      <a:pt x="130" y="16"/>
                    </a:moveTo>
                    <a:lnTo>
                      <a:pt x="80" y="9"/>
                    </a:lnTo>
                    <a:lnTo>
                      <a:pt x="26" y="0"/>
                    </a:lnTo>
                    <a:lnTo>
                      <a:pt x="0" y="17"/>
                    </a:lnTo>
                    <a:lnTo>
                      <a:pt x="0" y="53"/>
                    </a:lnTo>
                    <a:lnTo>
                      <a:pt x="36" y="73"/>
                    </a:lnTo>
                    <a:lnTo>
                      <a:pt x="43" y="43"/>
                    </a:lnTo>
                    <a:lnTo>
                      <a:pt x="70" y="83"/>
                    </a:lnTo>
                    <a:lnTo>
                      <a:pt x="87" y="76"/>
                    </a:lnTo>
                    <a:lnTo>
                      <a:pt x="80" y="43"/>
                    </a:lnTo>
                    <a:lnTo>
                      <a:pt x="117" y="29"/>
                    </a:lnTo>
                    <a:lnTo>
                      <a:pt x="130" y="1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3" name="Freeform 89">
                <a:extLst>
                  <a:ext uri="{FF2B5EF4-FFF2-40B4-BE49-F238E27FC236}">
                    <a16:creationId xmlns:a16="http://schemas.microsoft.com/office/drawing/2014/main" id="{6521769B-3B5C-4F06-9478-435A60BEB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4738" y="2603500"/>
                <a:ext cx="47625" cy="52388"/>
              </a:xfrm>
              <a:custGeom>
                <a:avLst/>
                <a:gdLst>
                  <a:gd name="T0" fmla="*/ 153 w 153"/>
                  <a:gd name="T1" fmla="*/ 30 h 167"/>
                  <a:gd name="T2" fmla="*/ 146 w 153"/>
                  <a:gd name="T3" fmla="*/ 0 h 167"/>
                  <a:gd name="T4" fmla="*/ 111 w 153"/>
                  <a:gd name="T5" fmla="*/ 30 h 167"/>
                  <a:gd name="T6" fmla="*/ 21 w 153"/>
                  <a:gd name="T7" fmla="*/ 71 h 167"/>
                  <a:gd name="T8" fmla="*/ 0 w 153"/>
                  <a:gd name="T9" fmla="*/ 91 h 167"/>
                  <a:gd name="T10" fmla="*/ 28 w 153"/>
                  <a:gd name="T11" fmla="*/ 130 h 167"/>
                  <a:gd name="T12" fmla="*/ 45 w 153"/>
                  <a:gd name="T13" fmla="*/ 151 h 167"/>
                  <a:gd name="T14" fmla="*/ 88 w 153"/>
                  <a:gd name="T15" fmla="*/ 167 h 167"/>
                  <a:gd name="T16" fmla="*/ 94 w 153"/>
                  <a:gd name="T17" fmla="*/ 130 h 167"/>
                  <a:gd name="T18" fmla="*/ 104 w 153"/>
                  <a:gd name="T19" fmla="*/ 87 h 167"/>
                  <a:gd name="T20" fmla="*/ 121 w 153"/>
                  <a:gd name="T21" fmla="*/ 70 h 167"/>
                  <a:gd name="T22" fmla="*/ 153 w 153"/>
                  <a:gd name="T23" fmla="*/ 3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3" h="167">
                    <a:moveTo>
                      <a:pt x="153" y="30"/>
                    </a:moveTo>
                    <a:lnTo>
                      <a:pt x="146" y="0"/>
                    </a:lnTo>
                    <a:lnTo>
                      <a:pt x="111" y="30"/>
                    </a:lnTo>
                    <a:lnTo>
                      <a:pt x="21" y="71"/>
                    </a:lnTo>
                    <a:lnTo>
                      <a:pt x="0" y="91"/>
                    </a:lnTo>
                    <a:lnTo>
                      <a:pt x="28" y="130"/>
                    </a:lnTo>
                    <a:lnTo>
                      <a:pt x="45" y="151"/>
                    </a:lnTo>
                    <a:lnTo>
                      <a:pt x="88" y="167"/>
                    </a:lnTo>
                    <a:lnTo>
                      <a:pt x="94" y="130"/>
                    </a:lnTo>
                    <a:lnTo>
                      <a:pt x="104" y="87"/>
                    </a:lnTo>
                    <a:lnTo>
                      <a:pt x="121" y="70"/>
                    </a:lnTo>
                    <a:lnTo>
                      <a:pt x="153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31" name="Freeform 101">
              <a:extLst>
                <a:ext uri="{FF2B5EF4-FFF2-40B4-BE49-F238E27FC236}">
                  <a16:creationId xmlns:a16="http://schemas.microsoft.com/office/drawing/2014/main" id="{98F6BC5F-DDC4-4C9B-B8F7-2A38061D4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75" y="3421063"/>
              <a:ext cx="303213" cy="236538"/>
            </a:xfrm>
            <a:custGeom>
              <a:avLst/>
              <a:gdLst>
                <a:gd name="T0" fmla="*/ 861 w 956"/>
                <a:gd name="T1" fmla="*/ 337 h 745"/>
                <a:gd name="T2" fmla="*/ 732 w 956"/>
                <a:gd name="T3" fmla="*/ 339 h 745"/>
                <a:gd name="T4" fmla="*/ 648 w 956"/>
                <a:gd name="T5" fmla="*/ 313 h 745"/>
                <a:gd name="T6" fmla="*/ 536 w 956"/>
                <a:gd name="T7" fmla="*/ 238 h 745"/>
                <a:gd name="T8" fmla="*/ 493 w 956"/>
                <a:gd name="T9" fmla="*/ 238 h 745"/>
                <a:gd name="T10" fmla="*/ 434 w 956"/>
                <a:gd name="T11" fmla="*/ 255 h 745"/>
                <a:gd name="T12" fmla="*/ 435 w 956"/>
                <a:gd name="T13" fmla="*/ 391 h 745"/>
                <a:gd name="T14" fmla="*/ 398 w 956"/>
                <a:gd name="T15" fmla="*/ 424 h 745"/>
                <a:gd name="T16" fmla="*/ 375 w 956"/>
                <a:gd name="T17" fmla="*/ 421 h 745"/>
                <a:gd name="T18" fmla="*/ 338 w 956"/>
                <a:gd name="T19" fmla="*/ 395 h 745"/>
                <a:gd name="T20" fmla="*/ 308 w 956"/>
                <a:gd name="T21" fmla="*/ 402 h 745"/>
                <a:gd name="T22" fmla="*/ 261 w 956"/>
                <a:gd name="T23" fmla="*/ 373 h 745"/>
                <a:gd name="T24" fmla="*/ 333 w 956"/>
                <a:gd name="T25" fmla="*/ 300 h 745"/>
                <a:gd name="T26" fmla="*/ 382 w 956"/>
                <a:gd name="T27" fmla="*/ 219 h 745"/>
                <a:gd name="T28" fmla="*/ 399 w 956"/>
                <a:gd name="T29" fmla="*/ 126 h 745"/>
                <a:gd name="T30" fmla="*/ 411 w 956"/>
                <a:gd name="T31" fmla="*/ 53 h 745"/>
                <a:gd name="T32" fmla="*/ 381 w 956"/>
                <a:gd name="T33" fmla="*/ 0 h 745"/>
                <a:gd name="T34" fmla="*/ 385 w 956"/>
                <a:gd name="T35" fmla="*/ 53 h 745"/>
                <a:gd name="T36" fmla="*/ 376 w 956"/>
                <a:gd name="T37" fmla="*/ 149 h 745"/>
                <a:gd name="T38" fmla="*/ 337 w 956"/>
                <a:gd name="T39" fmla="*/ 249 h 745"/>
                <a:gd name="T40" fmla="*/ 274 w 956"/>
                <a:gd name="T41" fmla="*/ 330 h 745"/>
                <a:gd name="T42" fmla="*/ 201 w 956"/>
                <a:gd name="T43" fmla="*/ 383 h 745"/>
                <a:gd name="T44" fmla="*/ 122 w 956"/>
                <a:gd name="T45" fmla="*/ 401 h 745"/>
                <a:gd name="T46" fmla="*/ 88 w 956"/>
                <a:gd name="T47" fmla="*/ 384 h 745"/>
                <a:gd name="T48" fmla="*/ 61 w 956"/>
                <a:gd name="T49" fmla="*/ 404 h 745"/>
                <a:gd name="T50" fmla="*/ 61 w 956"/>
                <a:gd name="T51" fmla="*/ 428 h 745"/>
                <a:gd name="T52" fmla="*/ 58 w 956"/>
                <a:gd name="T53" fmla="*/ 478 h 745"/>
                <a:gd name="T54" fmla="*/ 26 w 956"/>
                <a:gd name="T55" fmla="*/ 515 h 745"/>
                <a:gd name="T56" fmla="*/ 46 w 956"/>
                <a:gd name="T57" fmla="*/ 533 h 745"/>
                <a:gd name="T58" fmla="*/ 95 w 956"/>
                <a:gd name="T59" fmla="*/ 490 h 745"/>
                <a:gd name="T60" fmla="*/ 119 w 956"/>
                <a:gd name="T61" fmla="*/ 510 h 745"/>
                <a:gd name="T62" fmla="*/ 153 w 956"/>
                <a:gd name="T63" fmla="*/ 530 h 745"/>
                <a:gd name="T64" fmla="*/ 185 w 956"/>
                <a:gd name="T65" fmla="*/ 503 h 745"/>
                <a:gd name="T66" fmla="*/ 193 w 956"/>
                <a:gd name="T67" fmla="*/ 566 h 745"/>
                <a:gd name="T68" fmla="*/ 119 w 956"/>
                <a:gd name="T69" fmla="*/ 567 h 745"/>
                <a:gd name="T70" fmla="*/ 59 w 956"/>
                <a:gd name="T71" fmla="*/ 567 h 745"/>
                <a:gd name="T72" fmla="*/ 40 w 956"/>
                <a:gd name="T73" fmla="*/ 617 h 745"/>
                <a:gd name="T74" fmla="*/ 0 w 956"/>
                <a:gd name="T75" fmla="*/ 666 h 745"/>
                <a:gd name="T76" fmla="*/ 492 w 956"/>
                <a:gd name="T77" fmla="*/ 686 h 745"/>
                <a:gd name="T78" fmla="*/ 741 w 956"/>
                <a:gd name="T79" fmla="*/ 745 h 745"/>
                <a:gd name="T80" fmla="*/ 954 w 956"/>
                <a:gd name="T81" fmla="*/ 717 h 745"/>
                <a:gd name="T82" fmla="*/ 913 w 956"/>
                <a:gd name="T83" fmla="*/ 576 h 745"/>
                <a:gd name="T84" fmla="*/ 956 w 956"/>
                <a:gd name="T85" fmla="*/ 452 h 745"/>
                <a:gd name="T86" fmla="*/ 861 w 956"/>
                <a:gd name="T87" fmla="*/ 337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56" h="745">
                  <a:moveTo>
                    <a:pt x="861" y="337"/>
                  </a:moveTo>
                  <a:lnTo>
                    <a:pt x="732" y="339"/>
                  </a:lnTo>
                  <a:lnTo>
                    <a:pt x="648" y="313"/>
                  </a:lnTo>
                  <a:lnTo>
                    <a:pt x="536" y="238"/>
                  </a:lnTo>
                  <a:lnTo>
                    <a:pt x="493" y="238"/>
                  </a:lnTo>
                  <a:lnTo>
                    <a:pt x="434" y="255"/>
                  </a:lnTo>
                  <a:lnTo>
                    <a:pt x="435" y="391"/>
                  </a:lnTo>
                  <a:lnTo>
                    <a:pt x="398" y="424"/>
                  </a:lnTo>
                  <a:lnTo>
                    <a:pt x="375" y="421"/>
                  </a:lnTo>
                  <a:lnTo>
                    <a:pt x="338" y="395"/>
                  </a:lnTo>
                  <a:lnTo>
                    <a:pt x="308" y="402"/>
                  </a:lnTo>
                  <a:lnTo>
                    <a:pt x="261" y="373"/>
                  </a:lnTo>
                  <a:lnTo>
                    <a:pt x="333" y="300"/>
                  </a:lnTo>
                  <a:lnTo>
                    <a:pt x="382" y="219"/>
                  </a:lnTo>
                  <a:lnTo>
                    <a:pt x="399" y="126"/>
                  </a:lnTo>
                  <a:lnTo>
                    <a:pt x="411" y="53"/>
                  </a:lnTo>
                  <a:lnTo>
                    <a:pt x="381" y="0"/>
                  </a:lnTo>
                  <a:lnTo>
                    <a:pt x="385" y="53"/>
                  </a:lnTo>
                  <a:lnTo>
                    <a:pt x="376" y="149"/>
                  </a:lnTo>
                  <a:lnTo>
                    <a:pt x="337" y="249"/>
                  </a:lnTo>
                  <a:lnTo>
                    <a:pt x="274" y="330"/>
                  </a:lnTo>
                  <a:lnTo>
                    <a:pt x="201" y="383"/>
                  </a:lnTo>
                  <a:lnTo>
                    <a:pt x="122" y="401"/>
                  </a:lnTo>
                  <a:lnTo>
                    <a:pt x="88" y="384"/>
                  </a:lnTo>
                  <a:lnTo>
                    <a:pt x="61" y="404"/>
                  </a:lnTo>
                  <a:lnTo>
                    <a:pt x="61" y="428"/>
                  </a:lnTo>
                  <a:lnTo>
                    <a:pt x="58" y="478"/>
                  </a:lnTo>
                  <a:lnTo>
                    <a:pt x="26" y="515"/>
                  </a:lnTo>
                  <a:lnTo>
                    <a:pt x="46" y="533"/>
                  </a:lnTo>
                  <a:lnTo>
                    <a:pt x="95" y="490"/>
                  </a:lnTo>
                  <a:lnTo>
                    <a:pt x="119" y="510"/>
                  </a:lnTo>
                  <a:lnTo>
                    <a:pt x="153" y="530"/>
                  </a:lnTo>
                  <a:lnTo>
                    <a:pt x="185" y="503"/>
                  </a:lnTo>
                  <a:lnTo>
                    <a:pt x="193" y="566"/>
                  </a:lnTo>
                  <a:lnTo>
                    <a:pt x="119" y="567"/>
                  </a:lnTo>
                  <a:lnTo>
                    <a:pt x="59" y="567"/>
                  </a:lnTo>
                  <a:lnTo>
                    <a:pt x="40" y="617"/>
                  </a:lnTo>
                  <a:lnTo>
                    <a:pt x="0" y="666"/>
                  </a:lnTo>
                  <a:lnTo>
                    <a:pt x="492" y="686"/>
                  </a:lnTo>
                  <a:lnTo>
                    <a:pt x="741" y="745"/>
                  </a:lnTo>
                  <a:lnTo>
                    <a:pt x="954" y="717"/>
                  </a:lnTo>
                  <a:lnTo>
                    <a:pt x="913" y="576"/>
                  </a:lnTo>
                  <a:lnTo>
                    <a:pt x="956" y="452"/>
                  </a:lnTo>
                  <a:lnTo>
                    <a:pt x="861" y="337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4F493E8-EE25-4B1E-A80B-33F40B3D976E}"/>
                </a:ext>
              </a:extLst>
            </p:cNvPr>
            <p:cNvGrpSpPr/>
            <p:nvPr/>
          </p:nvGrpSpPr>
          <p:grpSpPr>
            <a:xfrm>
              <a:off x="4846638" y="2724150"/>
              <a:ext cx="588963" cy="358775"/>
              <a:chOff x="4846638" y="2724150"/>
              <a:chExt cx="588963" cy="358775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236" name="Freeform 108">
                <a:extLst>
                  <a:ext uri="{FF2B5EF4-FFF2-40B4-BE49-F238E27FC236}">
                    <a16:creationId xmlns:a16="http://schemas.microsoft.com/office/drawing/2014/main" id="{C20502E0-12C1-412E-A712-DBB9B17F4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9038" y="2724150"/>
                <a:ext cx="436563" cy="358775"/>
              </a:xfrm>
              <a:custGeom>
                <a:avLst/>
                <a:gdLst>
                  <a:gd name="T0" fmla="*/ 1373 w 1375"/>
                  <a:gd name="T1" fmla="*/ 188 h 1131"/>
                  <a:gd name="T2" fmla="*/ 1338 w 1375"/>
                  <a:gd name="T3" fmla="*/ 122 h 1131"/>
                  <a:gd name="T4" fmla="*/ 1268 w 1375"/>
                  <a:gd name="T5" fmla="*/ 138 h 1131"/>
                  <a:gd name="T6" fmla="*/ 1065 w 1375"/>
                  <a:gd name="T7" fmla="*/ 124 h 1131"/>
                  <a:gd name="T8" fmla="*/ 872 w 1375"/>
                  <a:gd name="T9" fmla="*/ 42 h 1131"/>
                  <a:gd name="T10" fmla="*/ 711 w 1375"/>
                  <a:gd name="T11" fmla="*/ 27 h 1131"/>
                  <a:gd name="T12" fmla="*/ 644 w 1375"/>
                  <a:gd name="T13" fmla="*/ 25 h 1131"/>
                  <a:gd name="T14" fmla="*/ 594 w 1375"/>
                  <a:gd name="T15" fmla="*/ 35 h 1131"/>
                  <a:gd name="T16" fmla="*/ 492 w 1375"/>
                  <a:gd name="T17" fmla="*/ 76 h 1131"/>
                  <a:gd name="T18" fmla="*/ 428 w 1375"/>
                  <a:gd name="T19" fmla="*/ 62 h 1131"/>
                  <a:gd name="T20" fmla="*/ 292 w 1375"/>
                  <a:gd name="T21" fmla="*/ 107 h 1131"/>
                  <a:gd name="T22" fmla="*/ 185 w 1375"/>
                  <a:gd name="T23" fmla="*/ 145 h 1131"/>
                  <a:gd name="T24" fmla="*/ 126 w 1375"/>
                  <a:gd name="T25" fmla="*/ 215 h 1131"/>
                  <a:gd name="T26" fmla="*/ 0 w 1375"/>
                  <a:gd name="T27" fmla="*/ 332 h 1131"/>
                  <a:gd name="T28" fmla="*/ 21 w 1375"/>
                  <a:gd name="T29" fmla="*/ 392 h 1131"/>
                  <a:gd name="T30" fmla="*/ 39 w 1375"/>
                  <a:gd name="T31" fmla="*/ 488 h 1131"/>
                  <a:gd name="T32" fmla="*/ 116 w 1375"/>
                  <a:gd name="T33" fmla="*/ 524 h 1131"/>
                  <a:gd name="T34" fmla="*/ 9 w 1375"/>
                  <a:gd name="T35" fmla="*/ 577 h 1131"/>
                  <a:gd name="T36" fmla="*/ 67 w 1375"/>
                  <a:gd name="T37" fmla="*/ 651 h 1131"/>
                  <a:gd name="T38" fmla="*/ 82 w 1375"/>
                  <a:gd name="T39" fmla="*/ 747 h 1131"/>
                  <a:gd name="T40" fmla="*/ 141 w 1375"/>
                  <a:gd name="T41" fmla="*/ 732 h 1131"/>
                  <a:gd name="T42" fmla="*/ 245 w 1375"/>
                  <a:gd name="T43" fmla="*/ 794 h 1131"/>
                  <a:gd name="T44" fmla="*/ 321 w 1375"/>
                  <a:gd name="T45" fmla="*/ 718 h 1131"/>
                  <a:gd name="T46" fmla="*/ 328 w 1375"/>
                  <a:gd name="T47" fmla="*/ 817 h 1131"/>
                  <a:gd name="T48" fmla="*/ 273 w 1375"/>
                  <a:gd name="T49" fmla="*/ 991 h 1131"/>
                  <a:gd name="T50" fmla="*/ 545 w 1375"/>
                  <a:gd name="T51" fmla="*/ 905 h 1131"/>
                  <a:gd name="T52" fmla="*/ 674 w 1375"/>
                  <a:gd name="T53" fmla="*/ 966 h 1131"/>
                  <a:gd name="T54" fmla="*/ 1026 w 1375"/>
                  <a:gd name="T55" fmla="*/ 1086 h 1131"/>
                  <a:gd name="T56" fmla="*/ 1262 w 1375"/>
                  <a:gd name="T57" fmla="*/ 1120 h 1131"/>
                  <a:gd name="T58" fmla="*/ 1336 w 1375"/>
                  <a:gd name="T59" fmla="*/ 950 h 1131"/>
                  <a:gd name="T60" fmla="*/ 1244 w 1375"/>
                  <a:gd name="T61" fmla="*/ 878 h 1131"/>
                  <a:gd name="T62" fmla="*/ 1199 w 1375"/>
                  <a:gd name="T63" fmla="*/ 798 h 1131"/>
                  <a:gd name="T64" fmla="*/ 1121 w 1375"/>
                  <a:gd name="T65" fmla="*/ 589 h 1131"/>
                  <a:gd name="T66" fmla="*/ 1067 w 1375"/>
                  <a:gd name="T67" fmla="*/ 496 h 1131"/>
                  <a:gd name="T68" fmla="*/ 1068 w 1375"/>
                  <a:gd name="T69" fmla="*/ 486 h 1131"/>
                  <a:gd name="T70" fmla="*/ 1072 w 1375"/>
                  <a:gd name="T71" fmla="*/ 451 h 1131"/>
                  <a:gd name="T72" fmla="*/ 1080 w 1375"/>
                  <a:gd name="T73" fmla="*/ 426 h 1131"/>
                  <a:gd name="T74" fmla="*/ 1086 w 1375"/>
                  <a:gd name="T75" fmla="*/ 416 h 1131"/>
                  <a:gd name="T76" fmla="*/ 1133 w 1375"/>
                  <a:gd name="T77" fmla="*/ 361 h 1131"/>
                  <a:gd name="T78" fmla="*/ 1254 w 1375"/>
                  <a:gd name="T79" fmla="*/ 348 h 1131"/>
                  <a:gd name="T80" fmla="*/ 1314 w 1375"/>
                  <a:gd name="T81" fmla="*/ 355 h 1131"/>
                  <a:gd name="T82" fmla="*/ 1362 w 1375"/>
                  <a:gd name="T83" fmla="*/ 318 h 1131"/>
                  <a:gd name="T84" fmla="*/ 1342 w 1375"/>
                  <a:gd name="T85" fmla="*/ 250 h 1131"/>
                  <a:gd name="T86" fmla="*/ 1351 w 1375"/>
                  <a:gd name="T87" fmla="*/ 218 h 1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75" h="1131">
                    <a:moveTo>
                      <a:pt x="1360" y="182"/>
                    </a:moveTo>
                    <a:lnTo>
                      <a:pt x="1373" y="188"/>
                    </a:lnTo>
                    <a:lnTo>
                      <a:pt x="1375" y="168"/>
                    </a:lnTo>
                    <a:lnTo>
                      <a:pt x="1338" y="122"/>
                    </a:lnTo>
                    <a:lnTo>
                      <a:pt x="1287" y="134"/>
                    </a:lnTo>
                    <a:lnTo>
                      <a:pt x="1268" y="138"/>
                    </a:lnTo>
                    <a:lnTo>
                      <a:pt x="1215" y="116"/>
                    </a:lnTo>
                    <a:lnTo>
                      <a:pt x="1065" y="124"/>
                    </a:lnTo>
                    <a:lnTo>
                      <a:pt x="954" y="51"/>
                    </a:lnTo>
                    <a:lnTo>
                      <a:pt x="872" y="42"/>
                    </a:lnTo>
                    <a:lnTo>
                      <a:pt x="761" y="0"/>
                    </a:lnTo>
                    <a:lnTo>
                      <a:pt x="711" y="27"/>
                    </a:lnTo>
                    <a:lnTo>
                      <a:pt x="664" y="8"/>
                    </a:lnTo>
                    <a:lnTo>
                      <a:pt x="644" y="25"/>
                    </a:lnTo>
                    <a:lnTo>
                      <a:pt x="614" y="11"/>
                    </a:lnTo>
                    <a:lnTo>
                      <a:pt x="594" y="35"/>
                    </a:lnTo>
                    <a:lnTo>
                      <a:pt x="625" y="68"/>
                    </a:lnTo>
                    <a:lnTo>
                      <a:pt x="492" y="76"/>
                    </a:lnTo>
                    <a:lnTo>
                      <a:pt x="465" y="86"/>
                    </a:lnTo>
                    <a:lnTo>
                      <a:pt x="428" y="62"/>
                    </a:lnTo>
                    <a:lnTo>
                      <a:pt x="388" y="106"/>
                    </a:lnTo>
                    <a:lnTo>
                      <a:pt x="292" y="107"/>
                    </a:lnTo>
                    <a:lnTo>
                      <a:pt x="249" y="134"/>
                    </a:lnTo>
                    <a:lnTo>
                      <a:pt x="185" y="145"/>
                    </a:lnTo>
                    <a:lnTo>
                      <a:pt x="183" y="194"/>
                    </a:lnTo>
                    <a:lnTo>
                      <a:pt x="126" y="215"/>
                    </a:lnTo>
                    <a:lnTo>
                      <a:pt x="10" y="272"/>
                    </a:lnTo>
                    <a:lnTo>
                      <a:pt x="0" y="332"/>
                    </a:lnTo>
                    <a:lnTo>
                      <a:pt x="51" y="371"/>
                    </a:lnTo>
                    <a:lnTo>
                      <a:pt x="21" y="392"/>
                    </a:lnTo>
                    <a:lnTo>
                      <a:pt x="18" y="461"/>
                    </a:lnTo>
                    <a:lnTo>
                      <a:pt x="39" y="488"/>
                    </a:lnTo>
                    <a:lnTo>
                      <a:pt x="109" y="510"/>
                    </a:lnTo>
                    <a:lnTo>
                      <a:pt x="116" y="524"/>
                    </a:lnTo>
                    <a:lnTo>
                      <a:pt x="53" y="544"/>
                    </a:lnTo>
                    <a:lnTo>
                      <a:pt x="9" y="577"/>
                    </a:lnTo>
                    <a:lnTo>
                      <a:pt x="14" y="601"/>
                    </a:lnTo>
                    <a:lnTo>
                      <a:pt x="67" y="651"/>
                    </a:lnTo>
                    <a:lnTo>
                      <a:pt x="75" y="737"/>
                    </a:lnTo>
                    <a:lnTo>
                      <a:pt x="82" y="747"/>
                    </a:lnTo>
                    <a:lnTo>
                      <a:pt x="102" y="757"/>
                    </a:lnTo>
                    <a:lnTo>
                      <a:pt x="141" y="732"/>
                    </a:lnTo>
                    <a:lnTo>
                      <a:pt x="215" y="808"/>
                    </a:lnTo>
                    <a:lnTo>
                      <a:pt x="245" y="794"/>
                    </a:lnTo>
                    <a:lnTo>
                      <a:pt x="261" y="754"/>
                    </a:lnTo>
                    <a:lnTo>
                      <a:pt x="321" y="718"/>
                    </a:lnTo>
                    <a:lnTo>
                      <a:pt x="345" y="754"/>
                    </a:lnTo>
                    <a:lnTo>
                      <a:pt x="328" y="817"/>
                    </a:lnTo>
                    <a:lnTo>
                      <a:pt x="302" y="860"/>
                    </a:lnTo>
                    <a:lnTo>
                      <a:pt x="273" y="991"/>
                    </a:lnTo>
                    <a:lnTo>
                      <a:pt x="491" y="861"/>
                    </a:lnTo>
                    <a:lnTo>
                      <a:pt x="545" y="905"/>
                    </a:lnTo>
                    <a:lnTo>
                      <a:pt x="642" y="921"/>
                    </a:lnTo>
                    <a:lnTo>
                      <a:pt x="674" y="966"/>
                    </a:lnTo>
                    <a:lnTo>
                      <a:pt x="960" y="1131"/>
                    </a:lnTo>
                    <a:lnTo>
                      <a:pt x="1026" y="1086"/>
                    </a:lnTo>
                    <a:lnTo>
                      <a:pt x="1182" y="1129"/>
                    </a:lnTo>
                    <a:lnTo>
                      <a:pt x="1262" y="1120"/>
                    </a:lnTo>
                    <a:lnTo>
                      <a:pt x="1318" y="1022"/>
                    </a:lnTo>
                    <a:lnTo>
                      <a:pt x="1336" y="950"/>
                    </a:lnTo>
                    <a:lnTo>
                      <a:pt x="1278" y="879"/>
                    </a:lnTo>
                    <a:lnTo>
                      <a:pt x="1244" y="878"/>
                    </a:lnTo>
                    <a:lnTo>
                      <a:pt x="1228" y="825"/>
                    </a:lnTo>
                    <a:lnTo>
                      <a:pt x="1199" y="798"/>
                    </a:lnTo>
                    <a:lnTo>
                      <a:pt x="1155" y="723"/>
                    </a:lnTo>
                    <a:lnTo>
                      <a:pt x="1121" y="589"/>
                    </a:lnTo>
                    <a:lnTo>
                      <a:pt x="1129" y="524"/>
                    </a:lnTo>
                    <a:lnTo>
                      <a:pt x="1067" y="496"/>
                    </a:lnTo>
                    <a:lnTo>
                      <a:pt x="1067" y="496"/>
                    </a:lnTo>
                    <a:lnTo>
                      <a:pt x="1068" y="486"/>
                    </a:lnTo>
                    <a:lnTo>
                      <a:pt x="1070" y="465"/>
                    </a:lnTo>
                    <a:lnTo>
                      <a:pt x="1072" y="451"/>
                    </a:lnTo>
                    <a:lnTo>
                      <a:pt x="1075" y="438"/>
                    </a:lnTo>
                    <a:lnTo>
                      <a:pt x="1080" y="426"/>
                    </a:lnTo>
                    <a:lnTo>
                      <a:pt x="1086" y="416"/>
                    </a:lnTo>
                    <a:lnTo>
                      <a:pt x="1086" y="416"/>
                    </a:lnTo>
                    <a:lnTo>
                      <a:pt x="1106" y="392"/>
                    </a:lnTo>
                    <a:lnTo>
                      <a:pt x="1133" y="361"/>
                    </a:lnTo>
                    <a:lnTo>
                      <a:pt x="1168" y="322"/>
                    </a:lnTo>
                    <a:lnTo>
                      <a:pt x="1254" y="348"/>
                    </a:lnTo>
                    <a:lnTo>
                      <a:pt x="1259" y="381"/>
                    </a:lnTo>
                    <a:lnTo>
                      <a:pt x="1314" y="355"/>
                    </a:lnTo>
                    <a:lnTo>
                      <a:pt x="1321" y="384"/>
                    </a:lnTo>
                    <a:lnTo>
                      <a:pt x="1362" y="318"/>
                    </a:lnTo>
                    <a:lnTo>
                      <a:pt x="1367" y="249"/>
                    </a:lnTo>
                    <a:lnTo>
                      <a:pt x="1342" y="250"/>
                    </a:lnTo>
                    <a:lnTo>
                      <a:pt x="1331" y="241"/>
                    </a:lnTo>
                    <a:lnTo>
                      <a:pt x="1351" y="218"/>
                    </a:lnTo>
                    <a:lnTo>
                      <a:pt x="1360" y="18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7" name="Freeform 109">
                <a:extLst>
                  <a:ext uri="{FF2B5EF4-FFF2-40B4-BE49-F238E27FC236}">
                    <a16:creationId xmlns:a16="http://schemas.microsoft.com/office/drawing/2014/main" id="{3A4A9776-C6FE-40B7-8C5D-90B543A88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638" y="2914650"/>
                <a:ext cx="133350" cy="125413"/>
              </a:xfrm>
              <a:custGeom>
                <a:avLst/>
                <a:gdLst>
                  <a:gd name="T0" fmla="*/ 383 w 419"/>
                  <a:gd name="T1" fmla="*/ 30 h 394"/>
                  <a:gd name="T2" fmla="*/ 419 w 419"/>
                  <a:gd name="T3" fmla="*/ 72 h 394"/>
                  <a:gd name="T4" fmla="*/ 417 w 419"/>
                  <a:gd name="T5" fmla="*/ 102 h 394"/>
                  <a:gd name="T6" fmla="*/ 384 w 419"/>
                  <a:gd name="T7" fmla="*/ 93 h 394"/>
                  <a:gd name="T8" fmla="*/ 354 w 419"/>
                  <a:gd name="T9" fmla="*/ 120 h 394"/>
                  <a:gd name="T10" fmla="*/ 327 w 419"/>
                  <a:gd name="T11" fmla="*/ 153 h 394"/>
                  <a:gd name="T12" fmla="*/ 281 w 419"/>
                  <a:gd name="T13" fmla="*/ 174 h 394"/>
                  <a:gd name="T14" fmla="*/ 271 w 419"/>
                  <a:gd name="T15" fmla="*/ 224 h 394"/>
                  <a:gd name="T16" fmla="*/ 171 w 419"/>
                  <a:gd name="T17" fmla="*/ 201 h 394"/>
                  <a:gd name="T18" fmla="*/ 148 w 419"/>
                  <a:gd name="T19" fmla="*/ 221 h 394"/>
                  <a:gd name="T20" fmla="*/ 139 w 419"/>
                  <a:gd name="T21" fmla="*/ 297 h 394"/>
                  <a:gd name="T22" fmla="*/ 66 w 419"/>
                  <a:gd name="T23" fmla="*/ 394 h 394"/>
                  <a:gd name="T24" fmla="*/ 26 w 419"/>
                  <a:gd name="T25" fmla="*/ 338 h 394"/>
                  <a:gd name="T26" fmla="*/ 48 w 419"/>
                  <a:gd name="T27" fmla="*/ 298 h 394"/>
                  <a:gd name="T28" fmla="*/ 109 w 419"/>
                  <a:gd name="T29" fmla="*/ 275 h 394"/>
                  <a:gd name="T30" fmla="*/ 112 w 419"/>
                  <a:gd name="T31" fmla="*/ 255 h 394"/>
                  <a:gd name="T32" fmla="*/ 37 w 419"/>
                  <a:gd name="T33" fmla="*/ 189 h 394"/>
                  <a:gd name="T34" fmla="*/ 0 w 419"/>
                  <a:gd name="T35" fmla="*/ 136 h 394"/>
                  <a:gd name="T36" fmla="*/ 57 w 419"/>
                  <a:gd name="T37" fmla="*/ 132 h 394"/>
                  <a:gd name="T38" fmla="*/ 9 w 419"/>
                  <a:gd name="T39" fmla="*/ 57 h 394"/>
                  <a:gd name="T40" fmla="*/ 26 w 419"/>
                  <a:gd name="T41" fmla="*/ 40 h 394"/>
                  <a:gd name="T42" fmla="*/ 93 w 419"/>
                  <a:gd name="T43" fmla="*/ 85 h 394"/>
                  <a:gd name="T44" fmla="*/ 100 w 419"/>
                  <a:gd name="T45" fmla="*/ 52 h 394"/>
                  <a:gd name="T46" fmla="*/ 146 w 419"/>
                  <a:gd name="T47" fmla="*/ 75 h 394"/>
                  <a:gd name="T48" fmla="*/ 113 w 419"/>
                  <a:gd name="T49" fmla="*/ 52 h 394"/>
                  <a:gd name="T50" fmla="*/ 185 w 419"/>
                  <a:gd name="T51" fmla="*/ 2 h 394"/>
                  <a:gd name="T52" fmla="*/ 236 w 419"/>
                  <a:gd name="T53" fmla="*/ 14 h 394"/>
                  <a:gd name="T54" fmla="*/ 349 w 419"/>
                  <a:gd name="T55" fmla="*/ 0 h 394"/>
                  <a:gd name="T56" fmla="*/ 383 w 419"/>
                  <a:gd name="T57" fmla="*/ 3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19" h="394">
                    <a:moveTo>
                      <a:pt x="383" y="30"/>
                    </a:moveTo>
                    <a:lnTo>
                      <a:pt x="419" y="72"/>
                    </a:lnTo>
                    <a:lnTo>
                      <a:pt x="417" y="102"/>
                    </a:lnTo>
                    <a:lnTo>
                      <a:pt x="384" y="93"/>
                    </a:lnTo>
                    <a:lnTo>
                      <a:pt x="354" y="120"/>
                    </a:lnTo>
                    <a:lnTo>
                      <a:pt x="327" y="153"/>
                    </a:lnTo>
                    <a:lnTo>
                      <a:pt x="281" y="174"/>
                    </a:lnTo>
                    <a:lnTo>
                      <a:pt x="271" y="224"/>
                    </a:lnTo>
                    <a:lnTo>
                      <a:pt x="171" y="201"/>
                    </a:lnTo>
                    <a:lnTo>
                      <a:pt x="148" y="221"/>
                    </a:lnTo>
                    <a:lnTo>
                      <a:pt x="139" y="297"/>
                    </a:lnTo>
                    <a:lnTo>
                      <a:pt x="66" y="394"/>
                    </a:lnTo>
                    <a:lnTo>
                      <a:pt x="26" y="338"/>
                    </a:lnTo>
                    <a:lnTo>
                      <a:pt x="48" y="298"/>
                    </a:lnTo>
                    <a:lnTo>
                      <a:pt x="109" y="275"/>
                    </a:lnTo>
                    <a:lnTo>
                      <a:pt x="112" y="255"/>
                    </a:lnTo>
                    <a:lnTo>
                      <a:pt x="37" y="189"/>
                    </a:lnTo>
                    <a:lnTo>
                      <a:pt x="0" y="136"/>
                    </a:lnTo>
                    <a:lnTo>
                      <a:pt x="57" y="132"/>
                    </a:lnTo>
                    <a:lnTo>
                      <a:pt x="9" y="57"/>
                    </a:lnTo>
                    <a:lnTo>
                      <a:pt x="26" y="40"/>
                    </a:lnTo>
                    <a:lnTo>
                      <a:pt x="93" y="85"/>
                    </a:lnTo>
                    <a:lnTo>
                      <a:pt x="100" y="52"/>
                    </a:lnTo>
                    <a:lnTo>
                      <a:pt x="146" y="75"/>
                    </a:lnTo>
                    <a:lnTo>
                      <a:pt x="113" y="52"/>
                    </a:lnTo>
                    <a:lnTo>
                      <a:pt x="185" y="2"/>
                    </a:lnTo>
                    <a:lnTo>
                      <a:pt x="236" y="14"/>
                    </a:lnTo>
                    <a:lnTo>
                      <a:pt x="349" y="0"/>
                    </a:lnTo>
                    <a:lnTo>
                      <a:pt x="383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8" name="Freeform 110">
                <a:extLst>
                  <a:ext uri="{FF2B5EF4-FFF2-40B4-BE49-F238E27FC236}">
                    <a16:creationId xmlns:a16="http://schemas.microsoft.com/office/drawing/2014/main" id="{D4C71032-F784-4500-9A4C-91D6714A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875" y="2900363"/>
                <a:ext cx="23813" cy="26988"/>
              </a:xfrm>
              <a:custGeom>
                <a:avLst/>
                <a:gdLst>
                  <a:gd name="T0" fmla="*/ 49 w 73"/>
                  <a:gd name="T1" fmla="*/ 0 h 87"/>
                  <a:gd name="T2" fmla="*/ 73 w 73"/>
                  <a:gd name="T3" fmla="*/ 59 h 87"/>
                  <a:gd name="T4" fmla="*/ 43 w 73"/>
                  <a:gd name="T5" fmla="*/ 87 h 87"/>
                  <a:gd name="T6" fmla="*/ 3 w 73"/>
                  <a:gd name="T7" fmla="*/ 60 h 87"/>
                  <a:gd name="T8" fmla="*/ 0 w 73"/>
                  <a:gd name="T9" fmla="*/ 23 h 87"/>
                  <a:gd name="T10" fmla="*/ 49 w 73"/>
                  <a:gd name="T11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87">
                    <a:moveTo>
                      <a:pt x="49" y="0"/>
                    </a:moveTo>
                    <a:lnTo>
                      <a:pt x="73" y="59"/>
                    </a:lnTo>
                    <a:lnTo>
                      <a:pt x="43" y="87"/>
                    </a:lnTo>
                    <a:lnTo>
                      <a:pt x="3" y="60"/>
                    </a:lnTo>
                    <a:lnTo>
                      <a:pt x="0" y="23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9" name="Freeform 111">
                <a:extLst>
                  <a:ext uri="{FF2B5EF4-FFF2-40B4-BE49-F238E27FC236}">
                    <a16:creationId xmlns:a16="http://schemas.microsoft.com/office/drawing/2014/main" id="{966AB5C6-91A7-48B4-943F-58962D9A4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288" y="2832100"/>
                <a:ext cx="22225" cy="19050"/>
              </a:xfrm>
              <a:custGeom>
                <a:avLst/>
                <a:gdLst>
                  <a:gd name="T0" fmla="*/ 0 w 70"/>
                  <a:gd name="T1" fmla="*/ 31 h 61"/>
                  <a:gd name="T2" fmla="*/ 7 w 70"/>
                  <a:gd name="T3" fmla="*/ 4 h 61"/>
                  <a:gd name="T4" fmla="*/ 64 w 70"/>
                  <a:gd name="T5" fmla="*/ 0 h 61"/>
                  <a:gd name="T6" fmla="*/ 70 w 70"/>
                  <a:gd name="T7" fmla="*/ 43 h 61"/>
                  <a:gd name="T8" fmla="*/ 37 w 70"/>
                  <a:gd name="T9" fmla="*/ 40 h 61"/>
                  <a:gd name="T10" fmla="*/ 37 w 70"/>
                  <a:gd name="T11" fmla="*/ 40 h 61"/>
                  <a:gd name="T12" fmla="*/ 36 w 70"/>
                  <a:gd name="T13" fmla="*/ 43 h 61"/>
                  <a:gd name="T14" fmla="*/ 32 w 70"/>
                  <a:gd name="T15" fmla="*/ 49 h 61"/>
                  <a:gd name="T16" fmla="*/ 27 w 70"/>
                  <a:gd name="T17" fmla="*/ 55 h 61"/>
                  <a:gd name="T18" fmla="*/ 23 w 70"/>
                  <a:gd name="T19" fmla="*/ 59 h 61"/>
                  <a:gd name="T20" fmla="*/ 20 w 70"/>
                  <a:gd name="T21" fmla="*/ 60 h 61"/>
                  <a:gd name="T22" fmla="*/ 20 w 70"/>
                  <a:gd name="T23" fmla="*/ 60 h 61"/>
                  <a:gd name="T24" fmla="*/ 18 w 70"/>
                  <a:gd name="T25" fmla="*/ 61 h 61"/>
                  <a:gd name="T26" fmla="*/ 17 w 70"/>
                  <a:gd name="T27" fmla="*/ 60 h 61"/>
                  <a:gd name="T28" fmla="*/ 13 w 70"/>
                  <a:gd name="T29" fmla="*/ 57 h 61"/>
                  <a:gd name="T30" fmla="*/ 9 w 70"/>
                  <a:gd name="T31" fmla="*/ 52 h 61"/>
                  <a:gd name="T32" fmla="*/ 7 w 70"/>
                  <a:gd name="T33" fmla="*/ 47 h 61"/>
                  <a:gd name="T34" fmla="*/ 2 w 70"/>
                  <a:gd name="T35" fmla="*/ 35 h 61"/>
                  <a:gd name="T36" fmla="*/ 0 w 70"/>
                  <a:gd name="T37" fmla="*/ 31 h 61"/>
                  <a:gd name="T38" fmla="*/ 0 w 70"/>
                  <a:gd name="T39" fmla="*/ 3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61">
                    <a:moveTo>
                      <a:pt x="0" y="31"/>
                    </a:moveTo>
                    <a:lnTo>
                      <a:pt x="7" y="4"/>
                    </a:lnTo>
                    <a:lnTo>
                      <a:pt x="64" y="0"/>
                    </a:lnTo>
                    <a:lnTo>
                      <a:pt x="70" y="43"/>
                    </a:lnTo>
                    <a:lnTo>
                      <a:pt x="37" y="40"/>
                    </a:lnTo>
                    <a:lnTo>
                      <a:pt x="37" y="40"/>
                    </a:lnTo>
                    <a:lnTo>
                      <a:pt x="36" y="43"/>
                    </a:lnTo>
                    <a:lnTo>
                      <a:pt x="32" y="49"/>
                    </a:lnTo>
                    <a:lnTo>
                      <a:pt x="27" y="55"/>
                    </a:lnTo>
                    <a:lnTo>
                      <a:pt x="23" y="59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18" y="61"/>
                    </a:lnTo>
                    <a:lnTo>
                      <a:pt x="17" y="60"/>
                    </a:lnTo>
                    <a:lnTo>
                      <a:pt x="13" y="57"/>
                    </a:lnTo>
                    <a:lnTo>
                      <a:pt x="9" y="52"/>
                    </a:lnTo>
                    <a:lnTo>
                      <a:pt x="7" y="47"/>
                    </a:lnTo>
                    <a:lnTo>
                      <a:pt x="2" y="35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40" name="Freeform 112">
                <a:extLst>
                  <a:ext uri="{FF2B5EF4-FFF2-40B4-BE49-F238E27FC236}">
                    <a16:creationId xmlns:a16="http://schemas.microsoft.com/office/drawing/2014/main" id="{21282F49-7DE9-44B9-ADD1-4BD5E9B5B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5688" y="2840038"/>
                <a:ext cx="87313" cy="60325"/>
              </a:xfrm>
              <a:custGeom>
                <a:avLst/>
                <a:gdLst>
                  <a:gd name="T0" fmla="*/ 11 w 274"/>
                  <a:gd name="T1" fmla="*/ 95 h 190"/>
                  <a:gd name="T2" fmla="*/ 0 w 274"/>
                  <a:gd name="T3" fmla="*/ 72 h 190"/>
                  <a:gd name="T4" fmla="*/ 57 w 274"/>
                  <a:gd name="T5" fmla="*/ 55 h 190"/>
                  <a:gd name="T6" fmla="*/ 97 w 274"/>
                  <a:gd name="T7" fmla="*/ 54 h 190"/>
                  <a:gd name="T8" fmla="*/ 127 w 274"/>
                  <a:gd name="T9" fmla="*/ 27 h 190"/>
                  <a:gd name="T10" fmla="*/ 143 w 274"/>
                  <a:gd name="T11" fmla="*/ 0 h 190"/>
                  <a:gd name="T12" fmla="*/ 223 w 274"/>
                  <a:gd name="T13" fmla="*/ 6 h 190"/>
                  <a:gd name="T14" fmla="*/ 254 w 274"/>
                  <a:gd name="T15" fmla="*/ 49 h 190"/>
                  <a:gd name="T16" fmla="*/ 274 w 274"/>
                  <a:gd name="T17" fmla="*/ 102 h 190"/>
                  <a:gd name="T18" fmla="*/ 258 w 274"/>
                  <a:gd name="T19" fmla="*/ 113 h 190"/>
                  <a:gd name="T20" fmla="*/ 241 w 274"/>
                  <a:gd name="T21" fmla="*/ 96 h 190"/>
                  <a:gd name="T22" fmla="*/ 214 w 274"/>
                  <a:gd name="T23" fmla="*/ 116 h 190"/>
                  <a:gd name="T24" fmla="*/ 192 w 274"/>
                  <a:gd name="T25" fmla="*/ 156 h 190"/>
                  <a:gd name="T26" fmla="*/ 172 w 274"/>
                  <a:gd name="T27" fmla="*/ 190 h 190"/>
                  <a:gd name="T28" fmla="*/ 132 w 274"/>
                  <a:gd name="T29" fmla="*/ 190 h 190"/>
                  <a:gd name="T30" fmla="*/ 98 w 274"/>
                  <a:gd name="T31" fmla="*/ 161 h 190"/>
                  <a:gd name="T32" fmla="*/ 104 w 274"/>
                  <a:gd name="T33" fmla="*/ 111 h 190"/>
                  <a:gd name="T34" fmla="*/ 52 w 274"/>
                  <a:gd name="T35" fmla="*/ 101 h 190"/>
                  <a:gd name="T36" fmla="*/ 11 w 274"/>
                  <a:gd name="T37" fmla="*/ 95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4" h="190">
                    <a:moveTo>
                      <a:pt x="11" y="95"/>
                    </a:moveTo>
                    <a:lnTo>
                      <a:pt x="0" y="72"/>
                    </a:lnTo>
                    <a:lnTo>
                      <a:pt x="57" y="55"/>
                    </a:lnTo>
                    <a:lnTo>
                      <a:pt x="97" y="54"/>
                    </a:lnTo>
                    <a:lnTo>
                      <a:pt x="127" y="27"/>
                    </a:lnTo>
                    <a:lnTo>
                      <a:pt x="143" y="0"/>
                    </a:lnTo>
                    <a:lnTo>
                      <a:pt x="223" y="6"/>
                    </a:lnTo>
                    <a:lnTo>
                      <a:pt x="254" y="49"/>
                    </a:lnTo>
                    <a:lnTo>
                      <a:pt x="274" y="102"/>
                    </a:lnTo>
                    <a:lnTo>
                      <a:pt x="258" y="113"/>
                    </a:lnTo>
                    <a:lnTo>
                      <a:pt x="241" y="96"/>
                    </a:lnTo>
                    <a:lnTo>
                      <a:pt x="214" y="116"/>
                    </a:lnTo>
                    <a:lnTo>
                      <a:pt x="192" y="156"/>
                    </a:lnTo>
                    <a:lnTo>
                      <a:pt x="172" y="190"/>
                    </a:lnTo>
                    <a:lnTo>
                      <a:pt x="132" y="190"/>
                    </a:lnTo>
                    <a:lnTo>
                      <a:pt x="98" y="161"/>
                    </a:lnTo>
                    <a:lnTo>
                      <a:pt x="104" y="111"/>
                    </a:lnTo>
                    <a:lnTo>
                      <a:pt x="52" y="101"/>
                    </a:lnTo>
                    <a:lnTo>
                      <a:pt x="11" y="9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33" name="Freeform 113">
              <a:extLst>
                <a:ext uri="{FF2B5EF4-FFF2-40B4-BE49-F238E27FC236}">
                  <a16:creationId xmlns:a16="http://schemas.microsoft.com/office/drawing/2014/main" id="{7676BE25-D33B-4827-851A-AFDED5910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7738" y="2997200"/>
              <a:ext cx="722313" cy="411163"/>
            </a:xfrm>
            <a:custGeom>
              <a:avLst/>
              <a:gdLst>
                <a:gd name="T0" fmla="*/ 545 w 2273"/>
                <a:gd name="T1" fmla="*/ 975 h 1292"/>
                <a:gd name="T2" fmla="*/ 869 w 2273"/>
                <a:gd name="T3" fmla="*/ 973 h 1292"/>
                <a:gd name="T4" fmla="*/ 1184 w 2273"/>
                <a:gd name="T5" fmla="*/ 952 h 1292"/>
                <a:gd name="T6" fmla="*/ 1453 w 2273"/>
                <a:gd name="T7" fmla="*/ 1096 h 1292"/>
                <a:gd name="T8" fmla="*/ 1752 w 2273"/>
                <a:gd name="T9" fmla="*/ 1292 h 1292"/>
                <a:gd name="T10" fmla="*/ 1992 w 2273"/>
                <a:gd name="T11" fmla="*/ 1277 h 1292"/>
                <a:gd name="T12" fmla="*/ 2111 w 2273"/>
                <a:gd name="T13" fmla="*/ 1165 h 1292"/>
                <a:gd name="T14" fmla="*/ 2229 w 2273"/>
                <a:gd name="T15" fmla="*/ 974 h 1292"/>
                <a:gd name="T16" fmla="*/ 2138 w 2273"/>
                <a:gd name="T17" fmla="*/ 718 h 1292"/>
                <a:gd name="T18" fmla="*/ 2266 w 2273"/>
                <a:gd name="T19" fmla="*/ 650 h 1292"/>
                <a:gd name="T20" fmla="*/ 2215 w 2273"/>
                <a:gd name="T21" fmla="*/ 425 h 1292"/>
                <a:gd name="T22" fmla="*/ 2111 w 2273"/>
                <a:gd name="T23" fmla="*/ 204 h 1292"/>
                <a:gd name="T24" fmla="*/ 2018 w 2273"/>
                <a:gd name="T25" fmla="*/ 259 h 1292"/>
                <a:gd name="T26" fmla="*/ 1782 w 2273"/>
                <a:gd name="T27" fmla="*/ 225 h 1292"/>
                <a:gd name="T28" fmla="*/ 1430 w 2273"/>
                <a:gd name="T29" fmla="*/ 105 h 1292"/>
                <a:gd name="T30" fmla="*/ 1301 w 2273"/>
                <a:gd name="T31" fmla="*/ 44 h 1292"/>
                <a:gd name="T32" fmla="*/ 1029 w 2273"/>
                <a:gd name="T33" fmla="*/ 130 h 1292"/>
                <a:gd name="T34" fmla="*/ 1033 w 2273"/>
                <a:gd name="T35" fmla="*/ 531 h 1292"/>
                <a:gd name="T36" fmla="*/ 953 w 2273"/>
                <a:gd name="T37" fmla="*/ 631 h 1292"/>
                <a:gd name="T38" fmla="*/ 844 w 2273"/>
                <a:gd name="T39" fmla="*/ 652 h 1292"/>
                <a:gd name="T40" fmla="*/ 717 w 2273"/>
                <a:gd name="T41" fmla="*/ 573 h 1292"/>
                <a:gd name="T42" fmla="*/ 693 w 2273"/>
                <a:gd name="T43" fmla="*/ 514 h 1292"/>
                <a:gd name="T44" fmla="*/ 656 w 2273"/>
                <a:gd name="T45" fmla="*/ 448 h 1292"/>
                <a:gd name="T46" fmla="*/ 659 w 2273"/>
                <a:gd name="T47" fmla="*/ 531 h 1292"/>
                <a:gd name="T48" fmla="*/ 646 w 2273"/>
                <a:gd name="T49" fmla="*/ 435 h 1292"/>
                <a:gd name="T50" fmla="*/ 511 w 2273"/>
                <a:gd name="T51" fmla="*/ 307 h 1292"/>
                <a:gd name="T52" fmla="*/ 490 w 2273"/>
                <a:gd name="T53" fmla="*/ 226 h 1292"/>
                <a:gd name="T54" fmla="*/ 367 w 2273"/>
                <a:gd name="T55" fmla="*/ 294 h 1292"/>
                <a:gd name="T56" fmla="*/ 172 w 2273"/>
                <a:gd name="T57" fmla="*/ 403 h 1292"/>
                <a:gd name="T58" fmla="*/ 133 w 2273"/>
                <a:gd name="T59" fmla="*/ 602 h 1292"/>
                <a:gd name="T60" fmla="*/ 0 w 2273"/>
                <a:gd name="T61" fmla="*/ 846 h 1292"/>
                <a:gd name="T62" fmla="*/ 62 w 2273"/>
                <a:gd name="T63" fmla="*/ 1113 h 1292"/>
                <a:gd name="T64" fmla="*/ 407 w 2273"/>
                <a:gd name="T65" fmla="*/ 994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73" h="1292">
                  <a:moveTo>
                    <a:pt x="407" y="994"/>
                  </a:moveTo>
                  <a:lnTo>
                    <a:pt x="545" y="975"/>
                  </a:lnTo>
                  <a:lnTo>
                    <a:pt x="665" y="996"/>
                  </a:lnTo>
                  <a:lnTo>
                    <a:pt x="869" y="973"/>
                  </a:lnTo>
                  <a:lnTo>
                    <a:pt x="1069" y="1002"/>
                  </a:lnTo>
                  <a:lnTo>
                    <a:pt x="1184" y="952"/>
                  </a:lnTo>
                  <a:lnTo>
                    <a:pt x="1292" y="1071"/>
                  </a:lnTo>
                  <a:lnTo>
                    <a:pt x="1453" y="1096"/>
                  </a:lnTo>
                  <a:lnTo>
                    <a:pt x="1632" y="1245"/>
                  </a:lnTo>
                  <a:lnTo>
                    <a:pt x="1752" y="1292"/>
                  </a:lnTo>
                  <a:lnTo>
                    <a:pt x="1885" y="1220"/>
                  </a:lnTo>
                  <a:lnTo>
                    <a:pt x="1992" y="1277"/>
                  </a:lnTo>
                  <a:lnTo>
                    <a:pt x="2067" y="1254"/>
                  </a:lnTo>
                  <a:lnTo>
                    <a:pt x="2111" y="1165"/>
                  </a:lnTo>
                  <a:lnTo>
                    <a:pt x="2208" y="1098"/>
                  </a:lnTo>
                  <a:lnTo>
                    <a:pt x="2229" y="974"/>
                  </a:lnTo>
                  <a:lnTo>
                    <a:pt x="2166" y="868"/>
                  </a:lnTo>
                  <a:lnTo>
                    <a:pt x="2138" y="718"/>
                  </a:lnTo>
                  <a:lnTo>
                    <a:pt x="2177" y="678"/>
                  </a:lnTo>
                  <a:lnTo>
                    <a:pt x="2266" y="650"/>
                  </a:lnTo>
                  <a:lnTo>
                    <a:pt x="2273" y="468"/>
                  </a:lnTo>
                  <a:lnTo>
                    <a:pt x="2215" y="425"/>
                  </a:lnTo>
                  <a:lnTo>
                    <a:pt x="2223" y="225"/>
                  </a:lnTo>
                  <a:lnTo>
                    <a:pt x="2111" y="204"/>
                  </a:lnTo>
                  <a:lnTo>
                    <a:pt x="2074" y="161"/>
                  </a:lnTo>
                  <a:lnTo>
                    <a:pt x="2018" y="259"/>
                  </a:lnTo>
                  <a:lnTo>
                    <a:pt x="1938" y="268"/>
                  </a:lnTo>
                  <a:lnTo>
                    <a:pt x="1782" y="225"/>
                  </a:lnTo>
                  <a:lnTo>
                    <a:pt x="1716" y="270"/>
                  </a:lnTo>
                  <a:lnTo>
                    <a:pt x="1430" y="105"/>
                  </a:lnTo>
                  <a:lnTo>
                    <a:pt x="1398" y="60"/>
                  </a:lnTo>
                  <a:lnTo>
                    <a:pt x="1301" y="44"/>
                  </a:lnTo>
                  <a:lnTo>
                    <a:pt x="1247" y="0"/>
                  </a:lnTo>
                  <a:lnTo>
                    <a:pt x="1029" y="130"/>
                  </a:lnTo>
                  <a:lnTo>
                    <a:pt x="1043" y="445"/>
                  </a:lnTo>
                  <a:lnTo>
                    <a:pt x="1033" y="531"/>
                  </a:lnTo>
                  <a:lnTo>
                    <a:pt x="963" y="587"/>
                  </a:lnTo>
                  <a:lnTo>
                    <a:pt x="953" y="631"/>
                  </a:lnTo>
                  <a:lnTo>
                    <a:pt x="927" y="628"/>
                  </a:lnTo>
                  <a:lnTo>
                    <a:pt x="844" y="652"/>
                  </a:lnTo>
                  <a:lnTo>
                    <a:pt x="747" y="616"/>
                  </a:lnTo>
                  <a:lnTo>
                    <a:pt x="717" y="573"/>
                  </a:lnTo>
                  <a:lnTo>
                    <a:pt x="703" y="547"/>
                  </a:lnTo>
                  <a:lnTo>
                    <a:pt x="693" y="514"/>
                  </a:lnTo>
                  <a:lnTo>
                    <a:pt x="686" y="487"/>
                  </a:lnTo>
                  <a:lnTo>
                    <a:pt x="656" y="448"/>
                  </a:lnTo>
                  <a:lnTo>
                    <a:pt x="649" y="465"/>
                  </a:lnTo>
                  <a:lnTo>
                    <a:pt x="659" y="531"/>
                  </a:lnTo>
                  <a:lnTo>
                    <a:pt x="629" y="512"/>
                  </a:lnTo>
                  <a:lnTo>
                    <a:pt x="646" y="435"/>
                  </a:lnTo>
                  <a:lnTo>
                    <a:pt x="541" y="346"/>
                  </a:lnTo>
                  <a:lnTo>
                    <a:pt x="511" y="307"/>
                  </a:lnTo>
                  <a:lnTo>
                    <a:pt x="507" y="243"/>
                  </a:lnTo>
                  <a:lnTo>
                    <a:pt x="490" y="226"/>
                  </a:lnTo>
                  <a:lnTo>
                    <a:pt x="448" y="258"/>
                  </a:lnTo>
                  <a:lnTo>
                    <a:pt x="367" y="294"/>
                  </a:lnTo>
                  <a:lnTo>
                    <a:pt x="287" y="296"/>
                  </a:lnTo>
                  <a:lnTo>
                    <a:pt x="172" y="403"/>
                  </a:lnTo>
                  <a:lnTo>
                    <a:pt x="136" y="473"/>
                  </a:lnTo>
                  <a:lnTo>
                    <a:pt x="133" y="602"/>
                  </a:lnTo>
                  <a:lnTo>
                    <a:pt x="45" y="739"/>
                  </a:lnTo>
                  <a:lnTo>
                    <a:pt x="0" y="846"/>
                  </a:lnTo>
                  <a:lnTo>
                    <a:pt x="4" y="989"/>
                  </a:lnTo>
                  <a:lnTo>
                    <a:pt x="62" y="1113"/>
                  </a:lnTo>
                  <a:lnTo>
                    <a:pt x="296" y="977"/>
                  </a:lnTo>
                  <a:lnTo>
                    <a:pt x="407" y="994"/>
                  </a:lnTo>
                  <a:close/>
                </a:path>
              </a:pathLst>
            </a:custGeom>
            <a:solidFill>
              <a:srgbClr val="1D2631">
                <a:lumMod val="75000"/>
                <a:lumOff val="25000"/>
              </a:srgb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E00A3966-07D4-42D7-8CAE-F75C48F68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75" y="3300413"/>
              <a:ext cx="536575" cy="438150"/>
            </a:xfrm>
            <a:custGeom>
              <a:avLst/>
              <a:gdLst>
                <a:gd name="T0" fmla="*/ 249 w 1690"/>
                <a:gd name="T1" fmla="*/ 694 h 1384"/>
                <a:gd name="T2" fmla="*/ 333 w 1690"/>
                <a:gd name="T3" fmla="*/ 720 h 1384"/>
                <a:gd name="T4" fmla="*/ 462 w 1690"/>
                <a:gd name="T5" fmla="*/ 718 h 1384"/>
                <a:gd name="T6" fmla="*/ 557 w 1690"/>
                <a:gd name="T7" fmla="*/ 833 h 1384"/>
                <a:gd name="T8" fmla="*/ 514 w 1690"/>
                <a:gd name="T9" fmla="*/ 957 h 1384"/>
                <a:gd name="T10" fmla="*/ 555 w 1690"/>
                <a:gd name="T11" fmla="*/ 1098 h 1384"/>
                <a:gd name="T12" fmla="*/ 595 w 1690"/>
                <a:gd name="T13" fmla="*/ 1094 h 1384"/>
                <a:gd name="T14" fmla="*/ 680 w 1690"/>
                <a:gd name="T15" fmla="*/ 1151 h 1384"/>
                <a:gd name="T16" fmla="*/ 788 w 1690"/>
                <a:gd name="T17" fmla="*/ 1251 h 1384"/>
                <a:gd name="T18" fmla="*/ 789 w 1690"/>
                <a:gd name="T19" fmla="*/ 1384 h 1384"/>
                <a:gd name="T20" fmla="*/ 819 w 1690"/>
                <a:gd name="T21" fmla="*/ 1357 h 1384"/>
                <a:gd name="T22" fmla="*/ 966 w 1690"/>
                <a:gd name="T23" fmla="*/ 1342 h 1384"/>
                <a:gd name="T24" fmla="*/ 1045 w 1690"/>
                <a:gd name="T25" fmla="*/ 1316 h 1384"/>
                <a:gd name="T26" fmla="*/ 1089 w 1690"/>
                <a:gd name="T27" fmla="*/ 1195 h 1384"/>
                <a:gd name="T28" fmla="*/ 1142 w 1690"/>
                <a:gd name="T29" fmla="*/ 1186 h 1384"/>
                <a:gd name="T30" fmla="*/ 1138 w 1690"/>
                <a:gd name="T31" fmla="*/ 1155 h 1384"/>
                <a:gd name="T32" fmla="*/ 1266 w 1690"/>
                <a:gd name="T33" fmla="*/ 1092 h 1384"/>
                <a:gd name="T34" fmla="*/ 1319 w 1690"/>
                <a:gd name="T35" fmla="*/ 1140 h 1384"/>
                <a:gd name="T36" fmla="*/ 1346 w 1690"/>
                <a:gd name="T37" fmla="*/ 1122 h 1384"/>
                <a:gd name="T38" fmla="*/ 1323 w 1690"/>
                <a:gd name="T39" fmla="*/ 989 h 1384"/>
                <a:gd name="T40" fmla="*/ 1414 w 1690"/>
                <a:gd name="T41" fmla="*/ 772 h 1384"/>
                <a:gd name="T42" fmla="*/ 1466 w 1690"/>
                <a:gd name="T43" fmla="*/ 723 h 1384"/>
                <a:gd name="T44" fmla="*/ 1538 w 1690"/>
                <a:gd name="T45" fmla="*/ 726 h 1384"/>
                <a:gd name="T46" fmla="*/ 1556 w 1690"/>
                <a:gd name="T47" fmla="*/ 659 h 1384"/>
                <a:gd name="T48" fmla="*/ 1652 w 1690"/>
                <a:gd name="T49" fmla="*/ 650 h 1384"/>
                <a:gd name="T50" fmla="*/ 1666 w 1690"/>
                <a:gd name="T51" fmla="*/ 566 h 1384"/>
                <a:gd name="T52" fmla="*/ 1607 w 1690"/>
                <a:gd name="T53" fmla="*/ 536 h 1384"/>
                <a:gd name="T54" fmla="*/ 1690 w 1690"/>
                <a:gd name="T55" fmla="*/ 340 h 1384"/>
                <a:gd name="T56" fmla="*/ 1570 w 1690"/>
                <a:gd name="T57" fmla="*/ 293 h 1384"/>
                <a:gd name="T58" fmla="*/ 1391 w 1690"/>
                <a:gd name="T59" fmla="*/ 144 h 1384"/>
                <a:gd name="T60" fmla="*/ 1230 w 1690"/>
                <a:gd name="T61" fmla="*/ 119 h 1384"/>
                <a:gd name="T62" fmla="*/ 1122 w 1690"/>
                <a:gd name="T63" fmla="*/ 0 h 1384"/>
                <a:gd name="T64" fmla="*/ 1007 w 1690"/>
                <a:gd name="T65" fmla="*/ 50 h 1384"/>
                <a:gd name="T66" fmla="*/ 807 w 1690"/>
                <a:gd name="T67" fmla="*/ 21 h 1384"/>
                <a:gd name="T68" fmla="*/ 603 w 1690"/>
                <a:gd name="T69" fmla="*/ 44 h 1384"/>
                <a:gd name="T70" fmla="*/ 483 w 1690"/>
                <a:gd name="T71" fmla="*/ 23 h 1384"/>
                <a:gd name="T72" fmla="*/ 345 w 1690"/>
                <a:gd name="T73" fmla="*/ 42 h 1384"/>
                <a:gd name="T74" fmla="*/ 234 w 1690"/>
                <a:gd name="T75" fmla="*/ 25 h 1384"/>
                <a:gd name="T76" fmla="*/ 0 w 1690"/>
                <a:gd name="T77" fmla="*/ 161 h 1384"/>
                <a:gd name="T78" fmla="*/ 8 w 1690"/>
                <a:gd name="T79" fmla="*/ 321 h 1384"/>
                <a:gd name="T80" fmla="*/ 59 w 1690"/>
                <a:gd name="T81" fmla="*/ 396 h 1384"/>
                <a:gd name="T82" fmla="*/ 66 w 1690"/>
                <a:gd name="T83" fmla="*/ 467 h 1384"/>
                <a:gd name="T84" fmla="*/ 40 w 1690"/>
                <a:gd name="T85" fmla="*/ 566 h 1384"/>
                <a:gd name="T86" fmla="*/ 94 w 1690"/>
                <a:gd name="T87" fmla="*/ 619 h 1384"/>
                <a:gd name="T88" fmla="*/ 137 w 1690"/>
                <a:gd name="T89" fmla="*/ 619 h 1384"/>
                <a:gd name="T90" fmla="*/ 249 w 1690"/>
                <a:gd name="T91" fmla="*/ 694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90" h="1384">
                  <a:moveTo>
                    <a:pt x="249" y="694"/>
                  </a:moveTo>
                  <a:lnTo>
                    <a:pt x="333" y="720"/>
                  </a:lnTo>
                  <a:lnTo>
                    <a:pt x="462" y="718"/>
                  </a:lnTo>
                  <a:lnTo>
                    <a:pt x="557" y="833"/>
                  </a:lnTo>
                  <a:lnTo>
                    <a:pt x="514" y="957"/>
                  </a:lnTo>
                  <a:lnTo>
                    <a:pt x="555" y="1098"/>
                  </a:lnTo>
                  <a:lnTo>
                    <a:pt x="595" y="1094"/>
                  </a:lnTo>
                  <a:lnTo>
                    <a:pt x="680" y="1151"/>
                  </a:lnTo>
                  <a:lnTo>
                    <a:pt x="788" y="1251"/>
                  </a:lnTo>
                  <a:lnTo>
                    <a:pt x="789" y="1384"/>
                  </a:lnTo>
                  <a:lnTo>
                    <a:pt x="819" y="1357"/>
                  </a:lnTo>
                  <a:lnTo>
                    <a:pt x="966" y="1342"/>
                  </a:lnTo>
                  <a:lnTo>
                    <a:pt x="1045" y="1316"/>
                  </a:lnTo>
                  <a:lnTo>
                    <a:pt x="1089" y="1195"/>
                  </a:lnTo>
                  <a:lnTo>
                    <a:pt x="1142" y="1186"/>
                  </a:lnTo>
                  <a:lnTo>
                    <a:pt x="1138" y="1155"/>
                  </a:lnTo>
                  <a:lnTo>
                    <a:pt x="1266" y="1092"/>
                  </a:lnTo>
                  <a:lnTo>
                    <a:pt x="1319" y="1140"/>
                  </a:lnTo>
                  <a:lnTo>
                    <a:pt x="1346" y="1122"/>
                  </a:lnTo>
                  <a:lnTo>
                    <a:pt x="1323" y="989"/>
                  </a:lnTo>
                  <a:lnTo>
                    <a:pt x="1414" y="772"/>
                  </a:lnTo>
                  <a:lnTo>
                    <a:pt x="1466" y="723"/>
                  </a:lnTo>
                  <a:lnTo>
                    <a:pt x="1538" y="726"/>
                  </a:lnTo>
                  <a:lnTo>
                    <a:pt x="1556" y="659"/>
                  </a:lnTo>
                  <a:lnTo>
                    <a:pt x="1652" y="650"/>
                  </a:lnTo>
                  <a:lnTo>
                    <a:pt x="1666" y="566"/>
                  </a:lnTo>
                  <a:lnTo>
                    <a:pt x="1607" y="536"/>
                  </a:lnTo>
                  <a:lnTo>
                    <a:pt x="1690" y="340"/>
                  </a:lnTo>
                  <a:lnTo>
                    <a:pt x="1570" y="293"/>
                  </a:lnTo>
                  <a:lnTo>
                    <a:pt x="1391" y="144"/>
                  </a:lnTo>
                  <a:lnTo>
                    <a:pt x="1230" y="119"/>
                  </a:lnTo>
                  <a:lnTo>
                    <a:pt x="1122" y="0"/>
                  </a:lnTo>
                  <a:lnTo>
                    <a:pt x="1007" y="50"/>
                  </a:lnTo>
                  <a:lnTo>
                    <a:pt x="807" y="21"/>
                  </a:lnTo>
                  <a:lnTo>
                    <a:pt x="603" y="44"/>
                  </a:lnTo>
                  <a:lnTo>
                    <a:pt x="483" y="23"/>
                  </a:lnTo>
                  <a:lnTo>
                    <a:pt x="345" y="42"/>
                  </a:lnTo>
                  <a:lnTo>
                    <a:pt x="234" y="25"/>
                  </a:lnTo>
                  <a:lnTo>
                    <a:pt x="0" y="161"/>
                  </a:lnTo>
                  <a:lnTo>
                    <a:pt x="8" y="321"/>
                  </a:lnTo>
                  <a:lnTo>
                    <a:pt x="59" y="396"/>
                  </a:lnTo>
                  <a:lnTo>
                    <a:pt x="66" y="467"/>
                  </a:lnTo>
                  <a:lnTo>
                    <a:pt x="40" y="566"/>
                  </a:lnTo>
                  <a:lnTo>
                    <a:pt x="94" y="619"/>
                  </a:lnTo>
                  <a:lnTo>
                    <a:pt x="137" y="619"/>
                  </a:lnTo>
                  <a:lnTo>
                    <a:pt x="249" y="694"/>
                  </a:lnTo>
                  <a:close/>
                </a:path>
              </a:pathLst>
            </a:custGeom>
            <a:solidFill>
              <a:srgbClr val="1D2631">
                <a:lumMod val="75000"/>
                <a:lumOff val="25000"/>
              </a:srgb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74BF9DB9-87DA-44BD-B144-1B57DB9DA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7925" y="3346450"/>
              <a:ext cx="912813" cy="788988"/>
            </a:xfrm>
            <a:custGeom>
              <a:avLst/>
              <a:gdLst>
                <a:gd name="T0" fmla="*/ 1268 w 2872"/>
                <a:gd name="T1" fmla="*/ 179 h 2487"/>
                <a:gd name="T2" fmla="*/ 1028 w 2872"/>
                <a:gd name="T3" fmla="*/ 194 h 2487"/>
                <a:gd name="T4" fmla="*/ 1004 w 2872"/>
                <a:gd name="T5" fmla="*/ 420 h 2487"/>
                <a:gd name="T6" fmla="*/ 894 w 2872"/>
                <a:gd name="T7" fmla="*/ 513 h 2487"/>
                <a:gd name="T8" fmla="*/ 804 w 2872"/>
                <a:gd name="T9" fmla="*/ 577 h 2487"/>
                <a:gd name="T10" fmla="*/ 661 w 2872"/>
                <a:gd name="T11" fmla="*/ 843 h 2487"/>
                <a:gd name="T12" fmla="*/ 657 w 2872"/>
                <a:gd name="T13" fmla="*/ 994 h 2487"/>
                <a:gd name="T14" fmla="*/ 476 w 2872"/>
                <a:gd name="T15" fmla="*/ 1009 h 2487"/>
                <a:gd name="T16" fmla="*/ 427 w 2872"/>
                <a:gd name="T17" fmla="*/ 1049 h 2487"/>
                <a:gd name="T18" fmla="*/ 304 w 2872"/>
                <a:gd name="T19" fmla="*/ 1196 h 2487"/>
                <a:gd name="T20" fmla="*/ 127 w 2872"/>
                <a:gd name="T21" fmla="*/ 1238 h 2487"/>
                <a:gd name="T22" fmla="*/ 192 w 2872"/>
                <a:gd name="T23" fmla="*/ 1512 h 2487"/>
                <a:gd name="T24" fmla="*/ 219 w 2872"/>
                <a:gd name="T25" fmla="*/ 1666 h 2487"/>
                <a:gd name="T26" fmla="*/ 30 w 2872"/>
                <a:gd name="T27" fmla="*/ 1880 h 2487"/>
                <a:gd name="T28" fmla="*/ 151 w 2872"/>
                <a:gd name="T29" fmla="*/ 2070 h 2487"/>
                <a:gd name="T30" fmla="*/ 133 w 2872"/>
                <a:gd name="T31" fmla="*/ 2385 h 2487"/>
                <a:gd name="T32" fmla="*/ 193 w 2872"/>
                <a:gd name="T33" fmla="*/ 2355 h 2487"/>
                <a:gd name="T34" fmla="*/ 255 w 2872"/>
                <a:gd name="T35" fmla="*/ 2357 h 2487"/>
                <a:gd name="T36" fmla="*/ 328 w 2872"/>
                <a:gd name="T37" fmla="*/ 2207 h 2487"/>
                <a:gd name="T38" fmla="*/ 738 w 2872"/>
                <a:gd name="T39" fmla="*/ 2207 h 2487"/>
                <a:gd name="T40" fmla="*/ 1055 w 2872"/>
                <a:gd name="T41" fmla="*/ 2287 h 2487"/>
                <a:gd name="T42" fmla="*/ 1214 w 2872"/>
                <a:gd name="T43" fmla="*/ 2249 h 2487"/>
                <a:gd name="T44" fmla="*/ 1502 w 2872"/>
                <a:gd name="T45" fmla="*/ 2323 h 2487"/>
                <a:gd name="T46" fmla="*/ 1665 w 2872"/>
                <a:gd name="T47" fmla="*/ 2332 h 2487"/>
                <a:gd name="T48" fmla="*/ 1762 w 2872"/>
                <a:gd name="T49" fmla="*/ 2300 h 2487"/>
                <a:gd name="T50" fmla="*/ 1818 w 2872"/>
                <a:gd name="T51" fmla="*/ 2370 h 2487"/>
                <a:gd name="T52" fmla="*/ 1909 w 2872"/>
                <a:gd name="T53" fmla="*/ 2388 h 2487"/>
                <a:gd name="T54" fmla="*/ 2079 w 2872"/>
                <a:gd name="T55" fmla="*/ 2466 h 2487"/>
                <a:gd name="T56" fmla="*/ 2176 w 2872"/>
                <a:gd name="T57" fmla="*/ 2487 h 2487"/>
                <a:gd name="T58" fmla="*/ 2183 w 2872"/>
                <a:gd name="T59" fmla="*/ 2400 h 2487"/>
                <a:gd name="T60" fmla="*/ 2342 w 2872"/>
                <a:gd name="T61" fmla="*/ 2053 h 2487"/>
                <a:gd name="T62" fmla="*/ 2545 w 2872"/>
                <a:gd name="T63" fmla="*/ 1918 h 2487"/>
                <a:gd name="T64" fmla="*/ 2517 w 2872"/>
                <a:gd name="T65" fmla="*/ 1856 h 2487"/>
                <a:gd name="T66" fmla="*/ 2485 w 2872"/>
                <a:gd name="T67" fmla="*/ 1630 h 2487"/>
                <a:gd name="T68" fmla="*/ 2688 w 2872"/>
                <a:gd name="T69" fmla="*/ 1568 h 2487"/>
                <a:gd name="T70" fmla="*/ 2872 w 2872"/>
                <a:gd name="T71" fmla="*/ 1311 h 2487"/>
                <a:gd name="T72" fmla="*/ 2771 w 2872"/>
                <a:gd name="T73" fmla="*/ 1210 h 2487"/>
                <a:gd name="T74" fmla="*/ 2628 w 2872"/>
                <a:gd name="T75" fmla="*/ 1214 h 2487"/>
                <a:gd name="T76" fmla="*/ 2603 w 2872"/>
                <a:gd name="T77" fmla="*/ 1068 h 2487"/>
                <a:gd name="T78" fmla="*/ 2455 w 2872"/>
                <a:gd name="T79" fmla="*/ 900 h 2487"/>
                <a:gd name="T80" fmla="*/ 2358 w 2872"/>
                <a:gd name="T81" fmla="*/ 473 h 2487"/>
                <a:gd name="T82" fmla="*/ 2329 w 2872"/>
                <a:gd name="T83" fmla="*/ 221 h 2487"/>
                <a:gd name="T84" fmla="*/ 2055 w 2872"/>
                <a:gd name="T85" fmla="*/ 140 h 2487"/>
                <a:gd name="T86" fmla="*/ 1922 w 2872"/>
                <a:gd name="T87" fmla="*/ 181 h 2487"/>
                <a:gd name="T88" fmla="*/ 1781 w 2872"/>
                <a:gd name="T89" fmla="*/ 30 h 2487"/>
                <a:gd name="T90" fmla="*/ 1665 w 2872"/>
                <a:gd name="T91" fmla="*/ 58 h 2487"/>
                <a:gd name="T92" fmla="*/ 1534 w 2872"/>
                <a:gd name="T93" fmla="*/ 32 h 2487"/>
                <a:gd name="T94" fmla="*/ 1387 w 2872"/>
                <a:gd name="T95" fmla="*/ 67 h 2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72" h="2487">
                  <a:moveTo>
                    <a:pt x="1343" y="156"/>
                  </a:moveTo>
                  <a:lnTo>
                    <a:pt x="1268" y="179"/>
                  </a:lnTo>
                  <a:lnTo>
                    <a:pt x="1161" y="122"/>
                  </a:lnTo>
                  <a:lnTo>
                    <a:pt x="1028" y="194"/>
                  </a:lnTo>
                  <a:lnTo>
                    <a:pt x="945" y="390"/>
                  </a:lnTo>
                  <a:lnTo>
                    <a:pt x="1004" y="420"/>
                  </a:lnTo>
                  <a:lnTo>
                    <a:pt x="990" y="504"/>
                  </a:lnTo>
                  <a:lnTo>
                    <a:pt x="894" y="513"/>
                  </a:lnTo>
                  <a:lnTo>
                    <a:pt x="876" y="580"/>
                  </a:lnTo>
                  <a:lnTo>
                    <a:pt x="804" y="577"/>
                  </a:lnTo>
                  <a:lnTo>
                    <a:pt x="752" y="626"/>
                  </a:lnTo>
                  <a:lnTo>
                    <a:pt x="661" y="843"/>
                  </a:lnTo>
                  <a:lnTo>
                    <a:pt x="684" y="976"/>
                  </a:lnTo>
                  <a:lnTo>
                    <a:pt x="657" y="994"/>
                  </a:lnTo>
                  <a:lnTo>
                    <a:pt x="604" y="946"/>
                  </a:lnTo>
                  <a:lnTo>
                    <a:pt x="476" y="1009"/>
                  </a:lnTo>
                  <a:lnTo>
                    <a:pt x="480" y="1040"/>
                  </a:lnTo>
                  <a:lnTo>
                    <a:pt x="427" y="1049"/>
                  </a:lnTo>
                  <a:lnTo>
                    <a:pt x="383" y="1170"/>
                  </a:lnTo>
                  <a:lnTo>
                    <a:pt x="304" y="1196"/>
                  </a:lnTo>
                  <a:lnTo>
                    <a:pt x="157" y="1211"/>
                  </a:lnTo>
                  <a:lnTo>
                    <a:pt x="127" y="1238"/>
                  </a:lnTo>
                  <a:lnTo>
                    <a:pt x="118" y="1282"/>
                  </a:lnTo>
                  <a:lnTo>
                    <a:pt x="192" y="1512"/>
                  </a:lnTo>
                  <a:lnTo>
                    <a:pt x="237" y="1626"/>
                  </a:lnTo>
                  <a:lnTo>
                    <a:pt x="219" y="1666"/>
                  </a:lnTo>
                  <a:lnTo>
                    <a:pt x="212" y="1781"/>
                  </a:lnTo>
                  <a:lnTo>
                    <a:pt x="30" y="1880"/>
                  </a:lnTo>
                  <a:lnTo>
                    <a:pt x="0" y="2000"/>
                  </a:lnTo>
                  <a:lnTo>
                    <a:pt x="151" y="2070"/>
                  </a:lnTo>
                  <a:lnTo>
                    <a:pt x="109" y="2225"/>
                  </a:lnTo>
                  <a:lnTo>
                    <a:pt x="133" y="2385"/>
                  </a:lnTo>
                  <a:lnTo>
                    <a:pt x="193" y="2374"/>
                  </a:lnTo>
                  <a:lnTo>
                    <a:pt x="193" y="2355"/>
                  </a:lnTo>
                  <a:lnTo>
                    <a:pt x="205" y="2332"/>
                  </a:lnTo>
                  <a:lnTo>
                    <a:pt x="255" y="2357"/>
                  </a:lnTo>
                  <a:lnTo>
                    <a:pt x="338" y="2250"/>
                  </a:lnTo>
                  <a:lnTo>
                    <a:pt x="328" y="2207"/>
                  </a:lnTo>
                  <a:lnTo>
                    <a:pt x="368" y="2173"/>
                  </a:lnTo>
                  <a:lnTo>
                    <a:pt x="738" y="2207"/>
                  </a:lnTo>
                  <a:lnTo>
                    <a:pt x="878" y="2206"/>
                  </a:lnTo>
                  <a:lnTo>
                    <a:pt x="1055" y="2287"/>
                  </a:lnTo>
                  <a:lnTo>
                    <a:pt x="1128" y="2273"/>
                  </a:lnTo>
                  <a:lnTo>
                    <a:pt x="1214" y="2249"/>
                  </a:lnTo>
                  <a:lnTo>
                    <a:pt x="1291" y="2328"/>
                  </a:lnTo>
                  <a:lnTo>
                    <a:pt x="1502" y="2323"/>
                  </a:lnTo>
                  <a:lnTo>
                    <a:pt x="1549" y="2358"/>
                  </a:lnTo>
                  <a:lnTo>
                    <a:pt x="1665" y="2332"/>
                  </a:lnTo>
                  <a:lnTo>
                    <a:pt x="1703" y="2371"/>
                  </a:lnTo>
                  <a:lnTo>
                    <a:pt x="1762" y="2300"/>
                  </a:lnTo>
                  <a:lnTo>
                    <a:pt x="1825" y="2329"/>
                  </a:lnTo>
                  <a:lnTo>
                    <a:pt x="1818" y="2370"/>
                  </a:lnTo>
                  <a:lnTo>
                    <a:pt x="1885" y="2359"/>
                  </a:lnTo>
                  <a:lnTo>
                    <a:pt x="1909" y="2388"/>
                  </a:lnTo>
                  <a:lnTo>
                    <a:pt x="2022" y="2365"/>
                  </a:lnTo>
                  <a:lnTo>
                    <a:pt x="2079" y="2466"/>
                  </a:lnTo>
                  <a:lnTo>
                    <a:pt x="2149" y="2470"/>
                  </a:lnTo>
                  <a:lnTo>
                    <a:pt x="2176" y="2487"/>
                  </a:lnTo>
                  <a:lnTo>
                    <a:pt x="2213" y="2426"/>
                  </a:lnTo>
                  <a:lnTo>
                    <a:pt x="2183" y="2400"/>
                  </a:lnTo>
                  <a:lnTo>
                    <a:pt x="2204" y="2247"/>
                  </a:lnTo>
                  <a:lnTo>
                    <a:pt x="2342" y="2053"/>
                  </a:lnTo>
                  <a:lnTo>
                    <a:pt x="2602" y="2017"/>
                  </a:lnTo>
                  <a:lnTo>
                    <a:pt x="2545" y="1918"/>
                  </a:lnTo>
                  <a:lnTo>
                    <a:pt x="2554" y="1868"/>
                  </a:lnTo>
                  <a:lnTo>
                    <a:pt x="2517" y="1856"/>
                  </a:lnTo>
                  <a:lnTo>
                    <a:pt x="2563" y="1759"/>
                  </a:lnTo>
                  <a:lnTo>
                    <a:pt x="2485" y="1630"/>
                  </a:lnTo>
                  <a:lnTo>
                    <a:pt x="2532" y="1547"/>
                  </a:lnTo>
                  <a:lnTo>
                    <a:pt x="2688" y="1568"/>
                  </a:lnTo>
                  <a:lnTo>
                    <a:pt x="2860" y="1428"/>
                  </a:lnTo>
                  <a:lnTo>
                    <a:pt x="2872" y="1311"/>
                  </a:lnTo>
                  <a:lnTo>
                    <a:pt x="2792" y="1265"/>
                  </a:lnTo>
                  <a:lnTo>
                    <a:pt x="2771" y="1210"/>
                  </a:lnTo>
                  <a:lnTo>
                    <a:pt x="2688" y="1197"/>
                  </a:lnTo>
                  <a:lnTo>
                    <a:pt x="2628" y="1214"/>
                  </a:lnTo>
                  <a:lnTo>
                    <a:pt x="2634" y="1174"/>
                  </a:lnTo>
                  <a:lnTo>
                    <a:pt x="2603" y="1068"/>
                  </a:lnTo>
                  <a:lnTo>
                    <a:pt x="2456" y="937"/>
                  </a:lnTo>
                  <a:lnTo>
                    <a:pt x="2455" y="900"/>
                  </a:lnTo>
                  <a:lnTo>
                    <a:pt x="2315" y="596"/>
                  </a:lnTo>
                  <a:lnTo>
                    <a:pt x="2358" y="473"/>
                  </a:lnTo>
                  <a:lnTo>
                    <a:pt x="2318" y="411"/>
                  </a:lnTo>
                  <a:lnTo>
                    <a:pt x="2329" y="221"/>
                  </a:lnTo>
                  <a:lnTo>
                    <a:pt x="2222" y="142"/>
                  </a:lnTo>
                  <a:lnTo>
                    <a:pt x="2055" y="140"/>
                  </a:lnTo>
                  <a:lnTo>
                    <a:pt x="2009" y="187"/>
                  </a:lnTo>
                  <a:lnTo>
                    <a:pt x="1922" y="181"/>
                  </a:lnTo>
                  <a:lnTo>
                    <a:pt x="1871" y="55"/>
                  </a:lnTo>
                  <a:lnTo>
                    <a:pt x="1781" y="30"/>
                  </a:lnTo>
                  <a:lnTo>
                    <a:pt x="1764" y="57"/>
                  </a:lnTo>
                  <a:lnTo>
                    <a:pt x="1665" y="58"/>
                  </a:lnTo>
                  <a:lnTo>
                    <a:pt x="1614" y="12"/>
                  </a:lnTo>
                  <a:lnTo>
                    <a:pt x="1534" y="32"/>
                  </a:lnTo>
                  <a:lnTo>
                    <a:pt x="1484" y="0"/>
                  </a:lnTo>
                  <a:lnTo>
                    <a:pt x="1387" y="67"/>
                  </a:lnTo>
                  <a:lnTo>
                    <a:pt x="1343" y="15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6" name="Freeform 164">
              <a:extLst>
                <a:ext uri="{FF2B5EF4-FFF2-40B4-BE49-F238E27FC236}">
                  <a16:creationId xmlns:a16="http://schemas.microsoft.com/office/drawing/2014/main" id="{99E6F279-8D5F-4CB5-97BA-D6BAE9E9F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575" y="4437063"/>
              <a:ext cx="22225" cy="14288"/>
            </a:xfrm>
            <a:custGeom>
              <a:avLst/>
              <a:gdLst>
                <a:gd name="T0" fmla="*/ 23 w 70"/>
                <a:gd name="T1" fmla="*/ 0 h 43"/>
                <a:gd name="T2" fmla="*/ 0 w 70"/>
                <a:gd name="T3" fmla="*/ 20 h 43"/>
                <a:gd name="T4" fmla="*/ 6 w 70"/>
                <a:gd name="T5" fmla="*/ 43 h 43"/>
                <a:gd name="T6" fmla="*/ 36 w 70"/>
                <a:gd name="T7" fmla="*/ 30 h 43"/>
                <a:gd name="T8" fmla="*/ 60 w 70"/>
                <a:gd name="T9" fmla="*/ 40 h 43"/>
                <a:gd name="T10" fmla="*/ 70 w 70"/>
                <a:gd name="T11" fmla="*/ 30 h 43"/>
                <a:gd name="T12" fmla="*/ 53 w 70"/>
                <a:gd name="T13" fmla="*/ 3 h 43"/>
                <a:gd name="T14" fmla="*/ 23 w 70"/>
                <a:gd name="T1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43">
                  <a:moveTo>
                    <a:pt x="23" y="0"/>
                  </a:moveTo>
                  <a:lnTo>
                    <a:pt x="0" y="20"/>
                  </a:lnTo>
                  <a:lnTo>
                    <a:pt x="6" y="43"/>
                  </a:lnTo>
                  <a:lnTo>
                    <a:pt x="36" y="30"/>
                  </a:lnTo>
                  <a:lnTo>
                    <a:pt x="60" y="40"/>
                  </a:lnTo>
                  <a:lnTo>
                    <a:pt x="70" y="30"/>
                  </a:lnTo>
                  <a:lnTo>
                    <a:pt x="53" y="3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7" name="Freeform 168">
              <a:extLst>
                <a:ext uri="{FF2B5EF4-FFF2-40B4-BE49-F238E27FC236}">
                  <a16:creationId xmlns:a16="http://schemas.microsoft.com/office/drawing/2014/main" id="{AAA87BBA-A4FA-4DC5-83B9-674A6282A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413" y="4419600"/>
              <a:ext cx="11113" cy="6350"/>
            </a:xfrm>
            <a:custGeom>
              <a:avLst/>
              <a:gdLst>
                <a:gd name="T0" fmla="*/ 3 w 36"/>
                <a:gd name="T1" fmla="*/ 20 h 20"/>
                <a:gd name="T2" fmla="*/ 26 w 36"/>
                <a:gd name="T3" fmla="*/ 19 h 20"/>
                <a:gd name="T4" fmla="*/ 36 w 36"/>
                <a:gd name="T5" fmla="*/ 6 h 20"/>
                <a:gd name="T6" fmla="*/ 0 w 36"/>
                <a:gd name="T7" fmla="*/ 0 h 20"/>
                <a:gd name="T8" fmla="*/ 3 w 36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" y="20"/>
                  </a:moveTo>
                  <a:lnTo>
                    <a:pt x="26" y="19"/>
                  </a:lnTo>
                  <a:lnTo>
                    <a:pt x="36" y="6"/>
                  </a:lnTo>
                  <a:lnTo>
                    <a:pt x="0" y="0"/>
                  </a:lnTo>
                  <a:lnTo>
                    <a:pt x="3" y="20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8" name="Freeform 171">
              <a:extLst>
                <a:ext uri="{FF2B5EF4-FFF2-40B4-BE49-F238E27FC236}">
                  <a16:creationId xmlns:a16="http://schemas.microsoft.com/office/drawing/2014/main" id="{BCE4EBDB-1B17-4DEF-B2E2-4336E314F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1400" y="3652838"/>
              <a:ext cx="44450" cy="53975"/>
            </a:xfrm>
            <a:custGeom>
              <a:avLst/>
              <a:gdLst>
                <a:gd name="T0" fmla="*/ 120 w 140"/>
                <a:gd name="T1" fmla="*/ 0 h 170"/>
                <a:gd name="T2" fmla="*/ 66 w 140"/>
                <a:gd name="T3" fmla="*/ 27 h 170"/>
                <a:gd name="T4" fmla="*/ 34 w 140"/>
                <a:gd name="T5" fmla="*/ 114 h 170"/>
                <a:gd name="T6" fmla="*/ 0 w 140"/>
                <a:gd name="T7" fmla="*/ 144 h 170"/>
                <a:gd name="T8" fmla="*/ 0 w 140"/>
                <a:gd name="T9" fmla="*/ 170 h 170"/>
                <a:gd name="T10" fmla="*/ 27 w 140"/>
                <a:gd name="T11" fmla="*/ 157 h 170"/>
                <a:gd name="T12" fmla="*/ 74 w 140"/>
                <a:gd name="T13" fmla="*/ 159 h 170"/>
                <a:gd name="T14" fmla="*/ 107 w 140"/>
                <a:gd name="T15" fmla="*/ 129 h 170"/>
                <a:gd name="T16" fmla="*/ 123 w 140"/>
                <a:gd name="T17" fmla="*/ 79 h 170"/>
                <a:gd name="T18" fmla="*/ 116 w 140"/>
                <a:gd name="T19" fmla="*/ 43 h 170"/>
                <a:gd name="T20" fmla="*/ 140 w 140"/>
                <a:gd name="T21" fmla="*/ 7 h 170"/>
                <a:gd name="T22" fmla="*/ 120 w 140"/>
                <a:gd name="T2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70">
                  <a:moveTo>
                    <a:pt x="120" y="0"/>
                  </a:moveTo>
                  <a:lnTo>
                    <a:pt x="66" y="27"/>
                  </a:lnTo>
                  <a:lnTo>
                    <a:pt x="34" y="114"/>
                  </a:lnTo>
                  <a:lnTo>
                    <a:pt x="0" y="144"/>
                  </a:lnTo>
                  <a:lnTo>
                    <a:pt x="0" y="170"/>
                  </a:lnTo>
                  <a:lnTo>
                    <a:pt x="27" y="157"/>
                  </a:lnTo>
                  <a:lnTo>
                    <a:pt x="74" y="159"/>
                  </a:lnTo>
                  <a:lnTo>
                    <a:pt x="107" y="129"/>
                  </a:lnTo>
                  <a:lnTo>
                    <a:pt x="123" y="79"/>
                  </a:lnTo>
                  <a:lnTo>
                    <a:pt x="116" y="43"/>
                  </a:lnTo>
                  <a:lnTo>
                    <a:pt x="140" y="7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BD58E-9E89-4808-BF79-0752C71AA2FE}"/>
                </a:ext>
              </a:extLst>
            </p:cNvPr>
            <p:cNvGrpSpPr/>
            <p:nvPr/>
          </p:nvGrpSpPr>
          <p:grpSpPr>
            <a:xfrm>
              <a:off x="2003425" y="2506663"/>
              <a:ext cx="935038" cy="1830388"/>
              <a:chOff x="2003425" y="2506663"/>
              <a:chExt cx="935038" cy="1830388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203" name="Freeform 166">
                <a:extLst>
                  <a:ext uri="{FF2B5EF4-FFF2-40B4-BE49-F238E27FC236}">
                    <a16:creationId xmlns:a16="http://schemas.microsoft.com/office/drawing/2014/main" id="{098E96E8-83BF-47C7-AA98-5A9EE27ED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425" y="3519488"/>
                <a:ext cx="241300" cy="188913"/>
              </a:xfrm>
              <a:custGeom>
                <a:avLst/>
                <a:gdLst>
                  <a:gd name="T0" fmla="*/ 712 w 761"/>
                  <a:gd name="T1" fmla="*/ 419 h 595"/>
                  <a:gd name="T2" fmla="*/ 742 w 761"/>
                  <a:gd name="T3" fmla="*/ 432 h 595"/>
                  <a:gd name="T4" fmla="*/ 761 w 761"/>
                  <a:gd name="T5" fmla="*/ 409 h 595"/>
                  <a:gd name="T6" fmla="*/ 744 w 761"/>
                  <a:gd name="T7" fmla="*/ 352 h 595"/>
                  <a:gd name="T8" fmla="*/ 751 w 761"/>
                  <a:gd name="T9" fmla="*/ 322 h 595"/>
                  <a:gd name="T10" fmla="*/ 711 w 761"/>
                  <a:gd name="T11" fmla="*/ 289 h 595"/>
                  <a:gd name="T12" fmla="*/ 674 w 761"/>
                  <a:gd name="T13" fmla="*/ 289 h 595"/>
                  <a:gd name="T14" fmla="*/ 624 w 761"/>
                  <a:gd name="T15" fmla="*/ 326 h 595"/>
                  <a:gd name="T16" fmla="*/ 607 w 761"/>
                  <a:gd name="T17" fmla="*/ 356 h 595"/>
                  <a:gd name="T18" fmla="*/ 594 w 761"/>
                  <a:gd name="T19" fmla="*/ 324 h 595"/>
                  <a:gd name="T20" fmla="*/ 630 w 761"/>
                  <a:gd name="T21" fmla="*/ 279 h 595"/>
                  <a:gd name="T22" fmla="*/ 663 w 761"/>
                  <a:gd name="T23" fmla="*/ 253 h 595"/>
                  <a:gd name="T24" fmla="*/ 666 w 761"/>
                  <a:gd name="T25" fmla="*/ 236 h 595"/>
                  <a:gd name="T26" fmla="*/ 636 w 761"/>
                  <a:gd name="T27" fmla="*/ 207 h 595"/>
                  <a:gd name="T28" fmla="*/ 596 w 761"/>
                  <a:gd name="T29" fmla="*/ 131 h 595"/>
                  <a:gd name="T30" fmla="*/ 558 w 761"/>
                  <a:gd name="T31" fmla="*/ 29 h 595"/>
                  <a:gd name="T32" fmla="*/ 518 w 761"/>
                  <a:gd name="T33" fmla="*/ 2 h 595"/>
                  <a:gd name="T34" fmla="*/ 377 w 761"/>
                  <a:gd name="T35" fmla="*/ 0 h 595"/>
                  <a:gd name="T36" fmla="*/ 344 w 761"/>
                  <a:gd name="T37" fmla="*/ 26 h 595"/>
                  <a:gd name="T38" fmla="*/ 302 w 761"/>
                  <a:gd name="T39" fmla="*/ 48 h 595"/>
                  <a:gd name="T40" fmla="*/ 288 w 761"/>
                  <a:gd name="T41" fmla="*/ 34 h 595"/>
                  <a:gd name="T42" fmla="*/ 262 w 761"/>
                  <a:gd name="T43" fmla="*/ 78 h 595"/>
                  <a:gd name="T44" fmla="*/ 215 w 761"/>
                  <a:gd name="T45" fmla="*/ 108 h 595"/>
                  <a:gd name="T46" fmla="*/ 189 w 761"/>
                  <a:gd name="T47" fmla="*/ 123 h 595"/>
                  <a:gd name="T48" fmla="*/ 191 w 761"/>
                  <a:gd name="T49" fmla="*/ 179 h 595"/>
                  <a:gd name="T50" fmla="*/ 156 w 761"/>
                  <a:gd name="T51" fmla="*/ 208 h 595"/>
                  <a:gd name="T52" fmla="*/ 106 w 761"/>
                  <a:gd name="T53" fmla="*/ 212 h 595"/>
                  <a:gd name="T54" fmla="*/ 68 w 761"/>
                  <a:gd name="T55" fmla="*/ 250 h 595"/>
                  <a:gd name="T56" fmla="*/ 73 w 761"/>
                  <a:gd name="T57" fmla="*/ 342 h 595"/>
                  <a:gd name="T58" fmla="*/ 0 w 761"/>
                  <a:gd name="T59" fmla="*/ 373 h 595"/>
                  <a:gd name="T60" fmla="*/ 3 w 761"/>
                  <a:gd name="T61" fmla="*/ 451 h 595"/>
                  <a:gd name="T62" fmla="*/ 110 w 761"/>
                  <a:gd name="T63" fmla="*/ 567 h 595"/>
                  <a:gd name="T64" fmla="*/ 190 w 761"/>
                  <a:gd name="T65" fmla="*/ 555 h 595"/>
                  <a:gd name="T66" fmla="*/ 260 w 761"/>
                  <a:gd name="T67" fmla="*/ 436 h 595"/>
                  <a:gd name="T68" fmla="*/ 327 w 761"/>
                  <a:gd name="T69" fmla="*/ 430 h 595"/>
                  <a:gd name="T70" fmla="*/ 393 w 761"/>
                  <a:gd name="T71" fmla="*/ 567 h 595"/>
                  <a:gd name="T72" fmla="*/ 433 w 761"/>
                  <a:gd name="T73" fmla="*/ 595 h 595"/>
                  <a:gd name="T74" fmla="*/ 497 w 761"/>
                  <a:gd name="T75" fmla="*/ 570 h 595"/>
                  <a:gd name="T76" fmla="*/ 526 w 761"/>
                  <a:gd name="T77" fmla="*/ 582 h 595"/>
                  <a:gd name="T78" fmla="*/ 629 w 761"/>
                  <a:gd name="T79" fmla="*/ 586 h 595"/>
                  <a:gd name="T80" fmla="*/ 629 w 761"/>
                  <a:gd name="T81" fmla="*/ 542 h 595"/>
                  <a:gd name="T82" fmla="*/ 639 w 761"/>
                  <a:gd name="T83" fmla="*/ 526 h 595"/>
                  <a:gd name="T84" fmla="*/ 695 w 761"/>
                  <a:gd name="T85" fmla="*/ 518 h 595"/>
                  <a:gd name="T86" fmla="*/ 715 w 761"/>
                  <a:gd name="T87" fmla="*/ 484 h 595"/>
                  <a:gd name="T88" fmla="*/ 722 w 761"/>
                  <a:gd name="T89" fmla="*/ 452 h 595"/>
                  <a:gd name="T90" fmla="*/ 695 w 761"/>
                  <a:gd name="T91" fmla="*/ 442 h 595"/>
                  <a:gd name="T92" fmla="*/ 687 w 761"/>
                  <a:gd name="T93" fmla="*/ 368 h 595"/>
                  <a:gd name="T94" fmla="*/ 704 w 761"/>
                  <a:gd name="T95" fmla="*/ 358 h 595"/>
                  <a:gd name="T96" fmla="*/ 712 w 761"/>
                  <a:gd name="T97" fmla="*/ 419 h 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61" h="595">
                    <a:moveTo>
                      <a:pt x="712" y="419"/>
                    </a:moveTo>
                    <a:lnTo>
                      <a:pt x="742" y="432"/>
                    </a:lnTo>
                    <a:lnTo>
                      <a:pt x="761" y="409"/>
                    </a:lnTo>
                    <a:lnTo>
                      <a:pt x="744" y="352"/>
                    </a:lnTo>
                    <a:lnTo>
                      <a:pt x="751" y="322"/>
                    </a:lnTo>
                    <a:lnTo>
                      <a:pt x="711" y="289"/>
                    </a:lnTo>
                    <a:lnTo>
                      <a:pt x="674" y="289"/>
                    </a:lnTo>
                    <a:lnTo>
                      <a:pt x="624" y="326"/>
                    </a:lnTo>
                    <a:lnTo>
                      <a:pt x="607" y="356"/>
                    </a:lnTo>
                    <a:lnTo>
                      <a:pt x="594" y="324"/>
                    </a:lnTo>
                    <a:lnTo>
                      <a:pt x="630" y="279"/>
                    </a:lnTo>
                    <a:lnTo>
                      <a:pt x="663" y="253"/>
                    </a:lnTo>
                    <a:lnTo>
                      <a:pt x="666" y="236"/>
                    </a:lnTo>
                    <a:lnTo>
                      <a:pt x="636" y="207"/>
                    </a:lnTo>
                    <a:lnTo>
                      <a:pt x="596" y="131"/>
                    </a:lnTo>
                    <a:lnTo>
                      <a:pt x="558" y="29"/>
                    </a:lnTo>
                    <a:lnTo>
                      <a:pt x="518" y="2"/>
                    </a:lnTo>
                    <a:lnTo>
                      <a:pt x="377" y="0"/>
                    </a:lnTo>
                    <a:lnTo>
                      <a:pt x="344" y="26"/>
                    </a:lnTo>
                    <a:lnTo>
                      <a:pt x="302" y="48"/>
                    </a:lnTo>
                    <a:lnTo>
                      <a:pt x="288" y="34"/>
                    </a:lnTo>
                    <a:lnTo>
                      <a:pt x="262" y="78"/>
                    </a:lnTo>
                    <a:lnTo>
                      <a:pt x="215" y="108"/>
                    </a:lnTo>
                    <a:lnTo>
                      <a:pt x="189" y="123"/>
                    </a:lnTo>
                    <a:lnTo>
                      <a:pt x="191" y="179"/>
                    </a:lnTo>
                    <a:lnTo>
                      <a:pt x="156" y="208"/>
                    </a:lnTo>
                    <a:lnTo>
                      <a:pt x="106" y="212"/>
                    </a:lnTo>
                    <a:lnTo>
                      <a:pt x="68" y="250"/>
                    </a:lnTo>
                    <a:lnTo>
                      <a:pt x="73" y="342"/>
                    </a:lnTo>
                    <a:lnTo>
                      <a:pt x="0" y="373"/>
                    </a:lnTo>
                    <a:lnTo>
                      <a:pt x="3" y="451"/>
                    </a:lnTo>
                    <a:lnTo>
                      <a:pt x="110" y="567"/>
                    </a:lnTo>
                    <a:lnTo>
                      <a:pt x="190" y="555"/>
                    </a:lnTo>
                    <a:lnTo>
                      <a:pt x="260" y="436"/>
                    </a:lnTo>
                    <a:lnTo>
                      <a:pt x="327" y="430"/>
                    </a:lnTo>
                    <a:lnTo>
                      <a:pt x="393" y="567"/>
                    </a:lnTo>
                    <a:lnTo>
                      <a:pt x="433" y="595"/>
                    </a:lnTo>
                    <a:lnTo>
                      <a:pt x="497" y="570"/>
                    </a:lnTo>
                    <a:lnTo>
                      <a:pt x="526" y="582"/>
                    </a:lnTo>
                    <a:lnTo>
                      <a:pt x="629" y="586"/>
                    </a:lnTo>
                    <a:lnTo>
                      <a:pt x="629" y="542"/>
                    </a:lnTo>
                    <a:lnTo>
                      <a:pt x="639" y="526"/>
                    </a:lnTo>
                    <a:lnTo>
                      <a:pt x="695" y="518"/>
                    </a:lnTo>
                    <a:lnTo>
                      <a:pt x="715" y="484"/>
                    </a:lnTo>
                    <a:lnTo>
                      <a:pt x="722" y="452"/>
                    </a:lnTo>
                    <a:lnTo>
                      <a:pt x="695" y="442"/>
                    </a:lnTo>
                    <a:lnTo>
                      <a:pt x="687" y="368"/>
                    </a:lnTo>
                    <a:lnTo>
                      <a:pt x="704" y="358"/>
                    </a:lnTo>
                    <a:lnTo>
                      <a:pt x="712" y="41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4" name="Freeform 145">
                <a:extLst>
                  <a:ext uri="{FF2B5EF4-FFF2-40B4-BE49-F238E27FC236}">
                    <a16:creationId xmlns:a16="http://schemas.microsoft.com/office/drawing/2014/main" id="{17D39B1A-B79B-47A7-9436-35AD3B1B21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388" y="2790825"/>
                <a:ext cx="23813" cy="22225"/>
              </a:xfrm>
              <a:custGeom>
                <a:avLst/>
                <a:gdLst>
                  <a:gd name="T0" fmla="*/ 64 w 73"/>
                  <a:gd name="T1" fmla="*/ 73 h 73"/>
                  <a:gd name="T2" fmla="*/ 73 w 73"/>
                  <a:gd name="T3" fmla="*/ 49 h 73"/>
                  <a:gd name="T4" fmla="*/ 39 w 73"/>
                  <a:gd name="T5" fmla="*/ 20 h 73"/>
                  <a:gd name="T6" fmla="*/ 46 w 73"/>
                  <a:gd name="T7" fmla="*/ 0 h 73"/>
                  <a:gd name="T8" fmla="*/ 19 w 73"/>
                  <a:gd name="T9" fmla="*/ 7 h 73"/>
                  <a:gd name="T10" fmla="*/ 0 w 73"/>
                  <a:gd name="T11" fmla="*/ 34 h 73"/>
                  <a:gd name="T12" fmla="*/ 32 w 73"/>
                  <a:gd name="T13" fmla="*/ 41 h 73"/>
                  <a:gd name="T14" fmla="*/ 64 w 73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3" h="73">
                    <a:moveTo>
                      <a:pt x="64" y="73"/>
                    </a:moveTo>
                    <a:lnTo>
                      <a:pt x="73" y="49"/>
                    </a:lnTo>
                    <a:lnTo>
                      <a:pt x="39" y="20"/>
                    </a:lnTo>
                    <a:lnTo>
                      <a:pt x="46" y="0"/>
                    </a:lnTo>
                    <a:lnTo>
                      <a:pt x="19" y="7"/>
                    </a:lnTo>
                    <a:lnTo>
                      <a:pt x="0" y="34"/>
                    </a:lnTo>
                    <a:lnTo>
                      <a:pt x="32" y="41"/>
                    </a:lnTo>
                    <a:lnTo>
                      <a:pt x="64" y="7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5" name="Freeform 146">
                <a:extLst>
                  <a:ext uri="{FF2B5EF4-FFF2-40B4-BE49-F238E27FC236}">
                    <a16:creationId xmlns:a16="http://schemas.microsoft.com/office/drawing/2014/main" id="{7BA0FCDC-D525-464E-BB29-B3B04C540A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213" y="2817813"/>
                <a:ext cx="15875" cy="11113"/>
              </a:xfrm>
              <a:custGeom>
                <a:avLst/>
                <a:gdLst>
                  <a:gd name="T0" fmla="*/ 50 w 50"/>
                  <a:gd name="T1" fmla="*/ 9 h 36"/>
                  <a:gd name="T2" fmla="*/ 7 w 50"/>
                  <a:gd name="T3" fmla="*/ 0 h 36"/>
                  <a:gd name="T4" fmla="*/ 0 w 50"/>
                  <a:gd name="T5" fmla="*/ 16 h 36"/>
                  <a:gd name="T6" fmla="*/ 20 w 50"/>
                  <a:gd name="T7" fmla="*/ 36 h 36"/>
                  <a:gd name="T8" fmla="*/ 50 w 50"/>
                  <a:gd name="T9" fmla="*/ 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6">
                    <a:moveTo>
                      <a:pt x="50" y="9"/>
                    </a:moveTo>
                    <a:lnTo>
                      <a:pt x="7" y="0"/>
                    </a:lnTo>
                    <a:lnTo>
                      <a:pt x="0" y="16"/>
                    </a:lnTo>
                    <a:lnTo>
                      <a:pt x="20" y="36"/>
                    </a:lnTo>
                    <a:lnTo>
                      <a:pt x="50" y="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6" name="Freeform 147">
                <a:extLst>
                  <a:ext uri="{FF2B5EF4-FFF2-40B4-BE49-F238E27FC236}">
                    <a16:creationId xmlns:a16="http://schemas.microsoft.com/office/drawing/2014/main" id="{8E94FB05-49E0-4732-A4E9-429D9F09E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738" y="2881313"/>
                <a:ext cx="15875" cy="19050"/>
              </a:xfrm>
              <a:custGeom>
                <a:avLst/>
                <a:gdLst>
                  <a:gd name="T0" fmla="*/ 0 w 47"/>
                  <a:gd name="T1" fmla="*/ 13 h 56"/>
                  <a:gd name="T2" fmla="*/ 7 w 47"/>
                  <a:gd name="T3" fmla="*/ 43 h 56"/>
                  <a:gd name="T4" fmla="*/ 27 w 47"/>
                  <a:gd name="T5" fmla="*/ 56 h 56"/>
                  <a:gd name="T6" fmla="*/ 47 w 47"/>
                  <a:gd name="T7" fmla="*/ 20 h 56"/>
                  <a:gd name="T8" fmla="*/ 29 w 47"/>
                  <a:gd name="T9" fmla="*/ 0 h 56"/>
                  <a:gd name="T10" fmla="*/ 0 w 47"/>
                  <a:gd name="T11" fmla="*/ 1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56">
                    <a:moveTo>
                      <a:pt x="0" y="13"/>
                    </a:moveTo>
                    <a:lnTo>
                      <a:pt x="7" y="43"/>
                    </a:lnTo>
                    <a:lnTo>
                      <a:pt x="27" y="56"/>
                    </a:lnTo>
                    <a:lnTo>
                      <a:pt x="47" y="20"/>
                    </a:lnTo>
                    <a:lnTo>
                      <a:pt x="29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7" name="Freeform 148">
                <a:extLst>
                  <a:ext uri="{FF2B5EF4-FFF2-40B4-BE49-F238E27FC236}">
                    <a16:creationId xmlns:a16="http://schemas.microsoft.com/office/drawing/2014/main" id="{7F3BEDE9-CC08-40E2-9001-37454121A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3638" y="2827338"/>
                <a:ext cx="79375" cy="44450"/>
              </a:xfrm>
              <a:custGeom>
                <a:avLst/>
                <a:gdLst>
                  <a:gd name="T0" fmla="*/ 60 w 247"/>
                  <a:gd name="T1" fmla="*/ 116 h 142"/>
                  <a:gd name="T2" fmla="*/ 84 w 247"/>
                  <a:gd name="T3" fmla="*/ 136 h 142"/>
                  <a:gd name="T4" fmla="*/ 164 w 247"/>
                  <a:gd name="T5" fmla="*/ 85 h 142"/>
                  <a:gd name="T6" fmla="*/ 184 w 247"/>
                  <a:gd name="T7" fmla="*/ 142 h 142"/>
                  <a:gd name="T8" fmla="*/ 231 w 247"/>
                  <a:gd name="T9" fmla="*/ 131 h 142"/>
                  <a:gd name="T10" fmla="*/ 247 w 247"/>
                  <a:gd name="T11" fmla="*/ 88 h 142"/>
                  <a:gd name="T12" fmla="*/ 204 w 247"/>
                  <a:gd name="T13" fmla="*/ 102 h 142"/>
                  <a:gd name="T14" fmla="*/ 184 w 247"/>
                  <a:gd name="T15" fmla="*/ 85 h 142"/>
                  <a:gd name="T16" fmla="*/ 154 w 247"/>
                  <a:gd name="T17" fmla="*/ 58 h 142"/>
                  <a:gd name="T18" fmla="*/ 104 w 247"/>
                  <a:gd name="T19" fmla="*/ 100 h 142"/>
                  <a:gd name="T20" fmla="*/ 84 w 247"/>
                  <a:gd name="T21" fmla="*/ 73 h 142"/>
                  <a:gd name="T22" fmla="*/ 94 w 247"/>
                  <a:gd name="T23" fmla="*/ 36 h 142"/>
                  <a:gd name="T24" fmla="*/ 76 w 247"/>
                  <a:gd name="T25" fmla="*/ 9 h 142"/>
                  <a:gd name="T26" fmla="*/ 26 w 247"/>
                  <a:gd name="T27" fmla="*/ 0 h 142"/>
                  <a:gd name="T28" fmla="*/ 0 w 247"/>
                  <a:gd name="T29" fmla="*/ 77 h 142"/>
                  <a:gd name="T30" fmla="*/ 27 w 247"/>
                  <a:gd name="T31" fmla="*/ 113 h 142"/>
                  <a:gd name="T32" fmla="*/ 60 w 247"/>
                  <a:gd name="T33" fmla="*/ 116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7" h="142">
                    <a:moveTo>
                      <a:pt x="60" y="116"/>
                    </a:moveTo>
                    <a:lnTo>
                      <a:pt x="84" y="136"/>
                    </a:lnTo>
                    <a:lnTo>
                      <a:pt x="164" y="85"/>
                    </a:lnTo>
                    <a:lnTo>
                      <a:pt x="184" y="142"/>
                    </a:lnTo>
                    <a:lnTo>
                      <a:pt x="231" y="131"/>
                    </a:lnTo>
                    <a:lnTo>
                      <a:pt x="247" y="88"/>
                    </a:lnTo>
                    <a:lnTo>
                      <a:pt x="204" y="102"/>
                    </a:lnTo>
                    <a:lnTo>
                      <a:pt x="184" y="85"/>
                    </a:lnTo>
                    <a:lnTo>
                      <a:pt x="154" y="58"/>
                    </a:lnTo>
                    <a:lnTo>
                      <a:pt x="104" y="100"/>
                    </a:lnTo>
                    <a:lnTo>
                      <a:pt x="84" y="73"/>
                    </a:lnTo>
                    <a:lnTo>
                      <a:pt x="94" y="36"/>
                    </a:lnTo>
                    <a:lnTo>
                      <a:pt x="76" y="9"/>
                    </a:lnTo>
                    <a:lnTo>
                      <a:pt x="26" y="0"/>
                    </a:lnTo>
                    <a:lnTo>
                      <a:pt x="0" y="77"/>
                    </a:lnTo>
                    <a:lnTo>
                      <a:pt x="27" y="113"/>
                    </a:lnTo>
                    <a:lnTo>
                      <a:pt x="60" y="11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8" name="Freeform 149">
                <a:extLst>
                  <a:ext uri="{FF2B5EF4-FFF2-40B4-BE49-F238E27FC236}">
                    <a16:creationId xmlns:a16="http://schemas.microsoft.com/office/drawing/2014/main" id="{202C68CF-ECD1-497B-99BF-8602ECABC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5225" y="2865438"/>
                <a:ext cx="25400" cy="25400"/>
              </a:xfrm>
              <a:custGeom>
                <a:avLst/>
                <a:gdLst>
                  <a:gd name="T0" fmla="*/ 0 w 81"/>
                  <a:gd name="T1" fmla="*/ 20 h 82"/>
                  <a:gd name="T2" fmla="*/ 0 w 81"/>
                  <a:gd name="T3" fmla="*/ 50 h 82"/>
                  <a:gd name="T4" fmla="*/ 41 w 81"/>
                  <a:gd name="T5" fmla="*/ 82 h 82"/>
                  <a:gd name="T6" fmla="*/ 81 w 81"/>
                  <a:gd name="T7" fmla="*/ 59 h 82"/>
                  <a:gd name="T8" fmla="*/ 33 w 81"/>
                  <a:gd name="T9" fmla="*/ 0 h 82"/>
                  <a:gd name="T10" fmla="*/ 0 w 81"/>
                  <a:gd name="T11" fmla="*/ 2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82">
                    <a:moveTo>
                      <a:pt x="0" y="20"/>
                    </a:moveTo>
                    <a:lnTo>
                      <a:pt x="0" y="50"/>
                    </a:lnTo>
                    <a:lnTo>
                      <a:pt x="41" y="82"/>
                    </a:lnTo>
                    <a:lnTo>
                      <a:pt x="81" y="59"/>
                    </a:lnTo>
                    <a:lnTo>
                      <a:pt x="33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9" name="Freeform 150">
                <a:extLst>
                  <a:ext uri="{FF2B5EF4-FFF2-40B4-BE49-F238E27FC236}">
                    <a16:creationId xmlns:a16="http://schemas.microsoft.com/office/drawing/2014/main" id="{1F5546D0-1C65-4734-A6D2-4D0957CB74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075" y="3273425"/>
                <a:ext cx="22225" cy="15875"/>
              </a:xfrm>
              <a:custGeom>
                <a:avLst/>
                <a:gdLst>
                  <a:gd name="T0" fmla="*/ 14 w 66"/>
                  <a:gd name="T1" fmla="*/ 24 h 50"/>
                  <a:gd name="T2" fmla="*/ 0 w 66"/>
                  <a:gd name="T3" fmla="*/ 50 h 50"/>
                  <a:gd name="T4" fmla="*/ 34 w 66"/>
                  <a:gd name="T5" fmla="*/ 44 h 50"/>
                  <a:gd name="T6" fmla="*/ 66 w 66"/>
                  <a:gd name="T7" fmla="*/ 3 h 50"/>
                  <a:gd name="T8" fmla="*/ 47 w 66"/>
                  <a:gd name="T9" fmla="*/ 0 h 50"/>
                  <a:gd name="T10" fmla="*/ 14 w 66"/>
                  <a:gd name="T11" fmla="*/ 2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50">
                    <a:moveTo>
                      <a:pt x="14" y="24"/>
                    </a:moveTo>
                    <a:lnTo>
                      <a:pt x="0" y="50"/>
                    </a:lnTo>
                    <a:lnTo>
                      <a:pt x="34" y="44"/>
                    </a:lnTo>
                    <a:lnTo>
                      <a:pt x="66" y="3"/>
                    </a:lnTo>
                    <a:lnTo>
                      <a:pt x="47" y="0"/>
                    </a:lnTo>
                    <a:lnTo>
                      <a:pt x="14" y="2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0" name="Freeform 151">
                <a:extLst>
                  <a:ext uri="{FF2B5EF4-FFF2-40B4-BE49-F238E27FC236}">
                    <a16:creationId xmlns:a16="http://schemas.microsoft.com/office/drawing/2014/main" id="{5C531A5C-2E52-4879-977C-B7994F5A69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1375" y="3095625"/>
                <a:ext cx="103188" cy="125413"/>
              </a:xfrm>
              <a:custGeom>
                <a:avLst/>
                <a:gdLst>
                  <a:gd name="T0" fmla="*/ 193 w 325"/>
                  <a:gd name="T1" fmla="*/ 139 h 394"/>
                  <a:gd name="T2" fmla="*/ 186 w 325"/>
                  <a:gd name="T3" fmla="*/ 46 h 394"/>
                  <a:gd name="T4" fmla="*/ 125 w 325"/>
                  <a:gd name="T5" fmla="*/ 0 h 394"/>
                  <a:gd name="T6" fmla="*/ 99 w 325"/>
                  <a:gd name="T7" fmla="*/ 30 h 394"/>
                  <a:gd name="T8" fmla="*/ 130 w 325"/>
                  <a:gd name="T9" fmla="*/ 99 h 394"/>
                  <a:gd name="T10" fmla="*/ 76 w 325"/>
                  <a:gd name="T11" fmla="*/ 83 h 394"/>
                  <a:gd name="T12" fmla="*/ 55 w 325"/>
                  <a:gd name="T13" fmla="*/ 37 h 394"/>
                  <a:gd name="T14" fmla="*/ 50 w 325"/>
                  <a:gd name="T15" fmla="*/ 67 h 394"/>
                  <a:gd name="T16" fmla="*/ 63 w 325"/>
                  <a:gd name="T17" fmla="*/ 120 h 394"/>
                  <a:gd name="T18" fmla="*/ 50 w 325"/>
                  <a:gd name="T19" fmla="*/ 130 h 394"/>
                  <a:gd name="T20" fmla="*/ 23 w 325"/>
                  <a:gd name="T21" fmla="*/ 110 h 394"/>
                  <a:gd name="T22" fmla="*/ 0 w 325"/>
                  <a:gd name="T23" fmla="*/ 137 h 394"/>
                  <a:gd name="T24" fmla="*/ 14 w 325"/>
                  <a:gd name="T25" fmla="*/ 170 h 394"/>
                  <a:gd name="T26" fmla="*/ 37 w 325"/>
                  <a:gd name="T27" fmla="*/ 206 h 394"/>
                  <a:gd name="T28" fmla="*/ 78 w 325"/>
                  <a:gd name="T29" fmla="*/ 216 h 394"/>
                  <a:gd name="T30" fmla="*/ 76 w 325"/>
                  <a:gd name="T31" fmla="*/ 176 h 394"/>
                  <a:gd name="T32" fmla="*/ 114 w 325"/>
                  <a:gd name="T33" fmla="*/ 203 h 394"/>
                  <a:gd name="T34" fmla="*/ 121 w 325"/>
                  <a:gd name="T35" fmla="*/ 246 h 394"/>
                  <a:gd name="T36" fmla="*/ 118 w 325"/>
                  <a:gd name="T37" fmla="*/ 268 h 394"/>
                  <a:gd name="T38" fmla="*/ 151 w 325"/>
                  <a:gd name="T39" fmla="*/ 309 h 394"/>
                  <a:gd name="T40" fmla="*/ 161 w 325"/>
                  <a:gd name="T41" fmla="*/ 332 h 394"/>
                  <a:gd name="T42" fmla="*/ 185 w 325"/>
                  <a:gd name="T43" fmla="*/ 322 h 394"/>
                  <a:gd name="T44" fmla="*/ 231 w 325"/>
                  <a:gd name="T45" fmla="*/ 321 h 394"/>
                  <a:gd name="T46" fmla="*/ 226 w 325"/>
                  <a:gd name="T47" fmla="*/ 374 h 394"/>
                  <a:gd name="T48" fmla="*/ 229 w 325"/>
                  <a:gd name="T49" fmla="*/ 394 h 394"/>
                  <a:gd name="T50" fmla="*/ 256 w 325"/>
                  <a:gd name="T51" fmla="*/ 378 h 394"/>
                  <a:gd name="T52" fmla="*/ 281 w 325"/>
                  <a:gd name="T53" fmla="*/ 321 h 394"/>
                  <a:gd name="T54" fmla="*/ 325 w 325"/>
                  <a:gd name="T55" fmla="*/ 287 h 394"/>
                  <a:gd name="T56" fmla="*/ 317 w 325"/>
                  <a:gd name="T57" fmla="*/ 257 h 394"/>
                  <a:gd name="T58" fmla="*/ 235 w 325"/>
                  <a:gd name="T59" fmla="*/ 277 h 394"/>
                  <a:gd name="T60" fmla="*/ 240 w 325"/>
                  <a:gd name="T61" fmla="*/ 238 h 394"/>
                  <a:gd name="T62" fmla="*/ 225 w 325"/>
                  <a:gd name="T63" fmla="*/ 238 h 394"/>
                  <a:gd name="T64" fmla="*/ 217 w 325"/>
                  <a:gd name="T65" fmla="*/ 185 h 394"/>
                  <a:gd name="T66" fmla="*/ 183 w 325"/>
                  <a:gd name="T67" fmla="*/ 169 h 394"/>
                  <a:gd name="T68" fmla="*/ 193 w 325"/>
                  <a:gd name="T69" fmla="*/ 139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25" h="394">
                    <a:moveTo>
                      <a:pt x="193" y="139"/>
                    </a:moveTo>
                    <a:lnTo>
                      <a:pt x="186" y="46"/>
                    </a:lnTo>
                    <a:lnTo>
                      <a:pt x="125" y="0"/>
                    </a:lnTo>
                    <a:lnTo>
                      <a:pt x="99" y="30"/>
                    </a:lnTo>
                    <a:lnTo>
                      <a:pt x="130" y="99"/>
                    </a:lnTo>
                    <a:lnTo>
                      <a:pt x="76" y="83"/>
                    </a:lnTo>
                    <a:lnTo>
                      <a:pt x="55" y="37"/>
                    </a:lnTo>
                    <a:lnTo>
                      <a:pt x="50" y="67"/>
                    </a:lnTo>
                    <a:lnTo>
                      <a:pt x="63" y="120"/>
                    </a:lnTo>
                    <a:lnTo>
                      <a:pt x="50" y="130"/>
                    </a:lnTo>
                    <a:lnTo>
                      <a:pt x="23" y="110"/>
                    </a:lnTo>
                    <a:lnTo>
                      <a:pt x="0" y="137"/>
                    </a:lnTo>
                    <a:lnTo>
                      <a:pt x="14" y="170"/>
                    </a:lnTo>
                    <a:lnTo>
                      <a:pt x="37" y="206"/>
                    </a:lnTo>
                    <a:lnTo>
                      <a:pt x="78" y="216"/>
                    </a:lnTo>
                    <a:lnTo>
                      <a:pt x="76" y="176"/>
                    </a:lnTo>
                    <a:lnTo>
                      <a:pt x="114" y="203"/>
                    </a:lnTo>
                    <a:lnTo>
                      <a:pt x="121" y="246"/>
                    </a:lnTo>
                    <a:lnTo>
                      <a:pt x="118" y="268"/>
                    </a:lnTo>
                    <a:lnTo>
                      <a:pt x="151" y="309"/>
                    </a:lnTo>
                    <a:lnTo>
                      <a:pt x="161" y="332"/>
                    </a:lnTo>
                    <a:lnTo>
                      <a:pt x="185" y="322"/>
                    </a:lnTo>
                    <a:lnTo>
                      <a:pt x="231" y="321"/>
                    </a:lnTo>
                    <a:lnTo>
                      <a:pt x="226" y="374"/>
                    </a:lnTo>
                    <a:lnTo>
                      <a:pt x="229" y="394"/>
                    </a:lnTo>
                    <a:lnTo>
                      <a:pt x="256" y="378"/>
                    </a:lnTo>
                    <a:lnTo>
                      <a:pt x="281" y="321"/>
                    </a:lnTo>
                    <a:lnTo>
                      <a:pt x="325" y="287"/>
                    </a:lnTo>
                    <a:lnTo>
                      <a:pt x="317" y="257"/>
                    </a:lnTo>
                    <a:lnTo>
                      <a:pt x="235" y="277"/>
                    </a:lnTo>
                    <a:lnTo>
                      <a:pt x="240" y="238"/>
                    </a:lnTo>
                    <a:lnTo>
                      <a:pt x="225" y="238"/>
                    </a:lnTo>
                    <a:lnTo>
                      <a:pt x="217" y="185"/>
                    </a:lnTo>
                    <a:lnTo>
                      <a:pt x="183" y="169"/>
                    </a:lnTo>
                    <a:lnTo>
                      <a:pt x="193" y="13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1" name="Freeform 152">
                <a:extLst>
                  <a:ext uri="{FF2B5EF4-FFF2-40B4-BE49-F238E27FC236}">
                    <a16:creationId xmlns:a16="http://schemas.microsoft.com/office/drawing/2014/main" id="{5C30F2A5-98DB-4861-8CE0-CED4A91C6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4400" y="3144838"/>
                <a:ext cx="6350" cy="22225"/>
              </a:xfrm>
              <a:custGeom>
                <a:avLst/>
                <a:gdLst>
                  <a:gd name="T0" fmla="*/ 10 w 24"/>
                  <a:gd name="T1" fmla="*/ 70 h 70"/>
                  <a:gd name="T2" fmla="*/ 24 w 24"/>
                  <a:gd name="T3" fmla="*/ 33 h 70"/>
                  <a:gd name="T4" fmla="*/ 17 w 24"/>
                  <a:gd name="T5" fmla="*/ 6 h 70"/>
                  <a:gd name="T6" fmla="*/ 0 w 24"/>
                  <a:gd name="T7" fmla="*/ 0 h 70"/>
                  <a:gd name="T8" fmla="*/ 0 w 24"/>
                  <a:gd name="T9" fmla="*/ 40 h 70"/>
                  <a:gd name="T10" fmla="*/ 10 w 24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70">
                    <a:moveTo>
                      <a:pt x="10" y="70"/>
                    </a:moveTo>
                    <a:lnTo>
                      <a:pt x="24" y="33"/>
                    </a:lnTo>
                    <a:lnTo>
                      <a:pt x="17" y="6"/>
                    </a:lnTo>
                    <a:lnTo>
                      <a:pt x="0" y="0"/>
                    </a:lnTo>
                    <a:lnTo>
                      <a:pt x="0" y="40"/>
                    </a:lnTo>
                    <a:lnTo>
                      <a:pt x="10" y="7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2" name="Freeform 153">
                <a:extLst>
                  <a:ext uri="{FF2B5EF4-FFF2-40B4-BE49-F238E27FC236}">
                    <a16:creationId xmlns:a16="http://schemas.microsoft.com/office/drawing/2014/main" id="{5874DC86-45FD-43EE-A2DD-39259CA9E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9000" y="3276600"/>
                <a:ext cx="61913" cy="71438"/>
              </a:xfrm>
              <a:custGeom>
                <a:avLst/>
                <a:gdLst>
                  <a:gd name="T0" fmla="*/ 106 w 193"/>
                  <a:gd name="T1" fmla="*/ 76 h 223"/>
                  <a:gd name="T2" fmla="*/ 58 w 193"/>
                  <a:gd name="T3" fmla="*/ 0 h 223"/>
                  <a:gd name="T4" fmla="*/ 28 w 193"/>
                  <a:gd name="T5" fmla="*/ 10 h 223"/>
                  <a:gd name="T6" fmla="*/ 39 w 193"/>
                  <a:gd name="T7" fmla="*/ 37 h 223"/>
                  <a:gd name="T8" fmla="*/ 2 w 193"/>
                  <a:gd name="T9" fmla="*/ 30 h 223"/>
                  <a:gd name="T10" fmla="*/ 12 w 193"/>
                  <a:gd name="T11" fmla="*/ 67 h 223"/>
                  <a:gd name="T12" fmla="*/ 56 w 193"/>
                  <a:gd name="T13" fmla="*/ 89 h 223"/>
                  <a:gd name="T14" fmla="*/ 99 w 193"/>
                  <a:gd name="T15" fmla="*/ 86 h 223"/>
                  <a:gd name="T16" fmla="*/ 83 w 193"/>
                  <a:gd name="T17" fmla="*/ 120 h 223"/>
                  <a:gd name="T18" fmla="*/ 56 w 193"/>
                  <a:gd name="T19" fmla="*/ 123 h 223"/>
                  <a:gd name="T20" fmla="*/ 47 w 193"/>
                  <a:gd name="T21" fmla="*/ 146 h 223"/>
                  <a:gd name="T22" fmla="*/ 83 w 193"/>
                  <a:gd name="T23" fmla="*/ 150 h 223"/>
                  <a:gd name="T24" fmla="*/ 84 w 193"/>
                  <a:gd name="T25" fmla="*/ 166 h 223"/>
                  <a:gd name="T26" fmla="*/ 37 w 193"/>
                  <a:gd name="T27" fmla="*/ 163 h 223"/>
                  <a:gd name="T28" fmla="*/ 0 w 193"/>
                  <a:gd name="T29" fmla="*/ 196 h 223"/>
                  <a:gd name="T30" fmla="*/ 24 w 193"/>
                  <a:gd name="T31" fmla="*/ 223 h 223"/>
                  <a:gd name="T32" fmla="*/ 67 w 193"/>
                  <a:gd name="T33" fmla="*/ 222 h 223"/>
                  <a:gd name="T34" fmla="*/ 90 w 193"/>
                  <a:gd name="T35" fmla="*/ 205 h 223"/>
                  <a:gd name="T36" fmla="*/ 137 w 193"/>
                  <a:gd name="T37" fmla="*/ 189 h 223"/>
                  <a:gd name="T38" fmla="*/ 144 w 193"/>
                  <a:gd name="T39" fmla="*/ 209 h 223"/>
                  <a:gd name="T40" fmla="*/ 193 w 193"/>
                  <a:gd name="T41" fmla="*/ 165 h 223"/>
                  <a:gd name="T42" fmla="*/ 150 w 193"/>
                  <a:gd name="T43" fmla="*/ 135 h 223"/>
                  <a:gd name="T44" fmla="*/ 160 w 193"/>
                  <a:gd name="T45" fmla="*/ 98 h 223"/>
                  <a:gd name="T46" fmla="*/ 106 w 193"/>
                  <a:gd name="T47" fmla="*/ 7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3" h="223">
                    <a:moveTo>
                      <a:pt x="106" y="76"/>
                    </a:moveTo>
                    <a:lnTo>
                      <a:pt x="58" y="0"/>
                    </a:lnTo>
                    <a:lnTo>
                      <a:pt x="28" y="10"/>
                    </a:lnTo>
                    <a:lnTo>
                      <a:pt x="39" y="37"/>
                    </a:lnTo>
                    <a:lnTo>
                      <a:pt x="2" y="30"/>
                    </a:lnTo>
                    <a:lnTo>
                      <a:pt x="12" y="67"/>
                    </a:lnTo>
                    <a:lnTo>
                      <a:pt x="56" y="89"/>
                    </a:lnTo>
                    <a:lnTo>
                      <a:pt x="99" y="86"/>
                    </a:lnTo>
                    <a:lnTo>
                      <a:pt x="83" y="120"/>
                    </a:lnTo>
                    <a:lnTo>
                      <a:pt x="56" y="123"/>
                    </a:lnTo>
                    <a:lnTo>
                      <a:pt x="47" y="146"/>
                    </a:lnTo>
                    <a:lnTo>
                      <a:pt x="83" y="150"/>
                    </a:lnTo>
                    <a:lnTo>
                      <a:pt x="84" y="166"/>
                    </a:lnTo>
                    <a:lnTo>
                      <a:pt x="37" y="163"/>
                    </a:lnTo>
                    <a:lnTo>
                      <a:pt x="0" y="196"/>
                    </a:lnTo>
                    <a:lnTo>
                      <a:pt x="24" y="223"/>
                    </a:lnTo>
                    <a:lnTo>
                      <a:pt x="67" y="222"/>
                    </a:lnTo>
                    <a:lnTo>
                      <a:pt x="90" y="205"/>
                    </a:lnTo>
                    <a:lnTo>
                      <a:pt x="137" y="189"/>
                    </a:lnTo>
                    <a:lnTo>
                      <a:pt x="144" y="209"/>
                    </a:lnTo>
                    <a:lnTo>
                      <a:pt x="193" y="165"/>
                    </a:lnTo>
                    <a:lnTo>
                      <a:pt x="150" y="135"/>
                    </a:lnTo>
                    <a:lnTo>
                      <a:pt x="160" y="98"/>
                    </a:lnTo>
                    <a:lnTo>
                      <a:pt x="106" y="7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3" name="Freeform 154">
                <a:extLst>
                  <a:ext uri="{FF2B5EF4-FFF2-40B4-BE49-F238E27FC236}">
                    <a16:creationId xmlns:a16="http://schemas.microsoft.com/office/drawing/2014/main" id="{EA7EF7EA-E68B-47FA-98E7-A5B0E7C2FE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3500" y="2551113"/>
                <a:ext cx="25400" cy="46038"/>
              </a:xfrm>
              <a:custGeom>
                <a:avLst/>
                <a:gdLst>
                  <a:gd name="T0" fmla="*/ 26 w 79"/>
                  <a:gd name="T1" fmla="*/ 143 h 143"/>
                  <a:gd name="T2" fmla="*/ 50 w 79"/>
                  <a:gd name="T3" fmla="*/ 90 h 143"/>
                  <a:gd name="T4" fmla="*/ 79 w 79"/>
                  <a:gd name="T5" fmla="*/ 63 h 143"/>
                  <a:gd name="T6" fmla="*/ 75 w 79"/>
                  <a:gd name="T7" fmla="*/ 0 h 143"/>
                  <a:gd name="T8" fmla="*/ 32 w 79"/>
                  <a:gd name="T9" fmla="*/ 4 h 143"/>
                  <a:gd name="T10" fmla="*/ 19 w 79"/>
                  <a:gd name="T11" fmla="*/ 47 h 143"/>
                  <a:gd name="T12" fmla="*/ 39 w 79"/>
                  <a:gd name="T13" fmla="*/ 80 h 143"/>
                  <a:gd name="T14" fmla="*/ 0 w 79"/>
                  <a:gd name="T15" fmla="*/ 130 h 143"/>
                  <a:gd name="T16" fmla="*/ 26 w 79"/>
                  <a:gd name="T17" fmla="*/ 14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43">
                    <a:moveTo>
                      <a:pt x="26" y="143"/>
                    </a:moveTo>
                    <a:lnTo>
                      <a:pt x="50" y="90"/>
                    </a:lnTo>
                    <a:lnTo>
                      <a:pt x="79" y="63"/>
                    </a:lnTo>
                    <a:lnTo>
                      <a:pt x="75" y="0"/>
                    </a:lnTo>
                    <a:lnTo>
                      <a:pt x="32" y="4"/>
                    </a:lnTo>
                    <a:lnTo>
                      <a:pt x="19" y="47"/>
                    </a:lnTo>
                    <a:lnTo>
                      <a:pt x="39" y="80"/>
                    </a:lnTo>
                    <a:lnTo>
                      <a:pt x="0" y="130"/>
                    </a:lnTo>
                    <a:lnTo>
                      <a:pt x="26" y="14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4" name="Freeform 155">
                <a:extLst>
                  <a:ext uri="{FF2B5EF4-FFF2-40B4-BE49-F238E27FC236}">
                    <a16:creationId xmlns:a16="http://schemas.microsoft.com/office/drawing/2014/main" id="{C7BEBE67-2814-45C3-A25F-6438DADC1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8425" y="2532063"/>
                <a:ext cx="17463" cy="39688"/>
              </a:xfrm>
              <a:custGeom>
                <a:avLst/>
                <a:gdLst>
                  <a:gd name="T0" fmla="*/ 40 w 54"/>
                  <a:gd name="T1" fmla="*/ 109 h 126"/>
                  <a:gd name="T2" fmla="*/ 54 w 54"/>
                  <a:gd name="T3" fmla="*/ 82 h 126"/>
                  <a:gd name="T4" fmla="*/ 49 w 54"/>
                  <a:gd name="T5" fmla="*/ 22 h 126"/>
                  <a:gd name="T6" fmla="*/ 22 w 54"/>
                  <a:gd name="T7" fmla="*/ 0 h 126"/>
                  <a:gd name="T8" fmla="*/ 12 w 54"/>
                  <a:gd name="T9" fmla="*/ 23 h 126"/>
                  <a:gd name="T10" fmla="*/ 0 w 54"/>
                  <a:gd name="T11" fmla="*/ 89 h 126"/>
                  <a:gd name="T12" fmla="*/ 7 w 54"/>
                  <a:gd name="T13" fmla="*/ 126 h 126"/>
                  <a:gd name="T14" fmla="*/ 40 w 54"/>
                  <a:gd name="T15" fmla="*/ 109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126">
                    <a:moveTo>
                      <a:pt x="40" y="109"/>
                    </a:moveTo>
                    <a:lnTo>
                      <a:pt x="54" y="82"/>
                    </a:lnTo>
                    <a:lnTo>
                      <a:pt x="49" y="22"/>
                    </a:lnTo>
                    <a:lnTo>
                      <a:pt x="22" y="0"/>
                    </a:lnTo>
                    <a:lnTo>
                      <a:pt x="12" y="23"/>
                    </a:lnTo>
                    <a:lnTo>
                      <a:pt x="0" y="89"/>
                    </a:lnTo>
                    <a:lnTo>
                      <a:pt x="7" y="126"/>
                    </a:lnTo>
                    <a:lnTo>
                      <a:pt x="40" y="10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5" name="Freeform 156">
                <a:extLst>
                  <a:ext uri="{FF2B5EF4-FFF2-40B4-BE49-F238E27FC236}">
                    <a16:creationId xmlns:a16="http://schemas.microsoft.com/office/drawing/2014/main" id="{B51F9F64-F623-4228-B81F-6071F81C44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0650" y="2533650"/>
                <a:ext cx="7938" cy="12700"/>
              </a:xfrm>
              <a:custGeom>
                <a:avLst/>
                <a:gdLst>
                  <a:gd name="T0" fmla="*/ 4 w 27"/>
                  <a:gd name="T1" fmla="*/ 40 h 40"/>
                  <a:gd name="T2" fmla="*/ 27 w 27"/>
                  <a:gd name="T3" fmla="*/ 0 h 40"/>
                  <a:gd name="T4" fmla="*/ 0 w 27"/>
                  <a:gd name="T5" fmla="*/ 6 h 40"/>
                  <a:gd name="T6" fmla="*/ 4 w 27"/>
                  <a:gd name="T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40">
                    <a:moveTo>
                      <a:pt x="4" y="40"/>
                    </a:moveTo>
                    <a:lnTo>
                      <a:pt x="27" y="0"/>
                    </a:lnTo>
                    <a:lnTo>
                      <a:pt x="0" y="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6" name="Freeform 157">
                <a:extLst>
                  <a:ext uri="{FF2B5EF4-FFF2-40B4-BE49-F238E27FC236}">
                    <a16:creationId xmlns:a16="http://schemas.microsoft.com/office/drawing/2014/main" id="{4DB8B188-0593-4226-B1DA-18CD4D04E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6363" y="2506663"/>
                <a:ext cx="14288" cy="22225"/>
              </a:xfrm>
              <a:custGeom>
                <a:avLst/>
                <a:gdLst>
                  <a:gd name="T0" fmla="*/ 49 w 49"/>
                  <a:gd name="T1" fmla="*/ 26 h 66"/>
                  <a:gd name="T2" fmla="*/ 26 w 49"/>
                  <a:gd name="T3" fmla="*/ 0 h 66"/>
                  <a:gd name="T4" fmla="*/ 0 w 49"/>
                  <a:gd name="T5" fmla="*/ 47 h 66"/>
                  <a:gd name="T6" fmla="*/ 24 w 49"/>
                  <a:gd name="T7" fmla="*/ 66 h 66"/>
                  <a:gd name="T8" fmla="*/ 49 w 49"/>
                  <a:gd name="T9" fmla="*/ 2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6">
                    <a:moveTo>
                      <a:pt x="49" y="26"/>
                    </a:moveTo>
                    <a:lnTo>
                      <a:pt x="26" y="0"/>
                    </a:lnTo>
                    <a:lnTo>
                      <a:pt x="0" y="47"/>
                    </a:lnTo>
                    <a:lnTo>
                      <a:pt x="24" y="66"/>
                    </a:lnTo>
                    <a:lnTo>
                      <a:pt x="49" y="2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7" name="Freeform 158">
                <a:extLst>
                  <a:ext uri="{FF2B5EF4-FFF2-40B4-BE49-F238E27FC236}">
                    <a16:creationId xmlns:a16="http://schemas.microsoft.com/office/drawing/2014/main" id="{0F8410E4-3265-4070-9E8F-925F6823F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0313" y="2816225"/>
                <a:ext cx="14288" cy="11113"/>
              </a:xfrm>
              <a:custGeom>
                <a:avLst/>
                <a:gdLst>
                  <a:gd name="T0" fmla="*/ 41 w 47"/>
                  <a:gd name="T1" fmla="*/ 0 h 33"/>
                  <a:gd name="T2" fmla="*/ 0 w 47"/>
                  <a:gd name="T3" fmla="*/ 21 h 33"/>
                  <a:gd name="T4" fmla="*/ 47 w 47"/>
                  <a:gd name="T5" fmla="*/ 33 h 33"/>
                  <a:gd name="T6" fmla="*/ 41 w 47"/>
                  <a:gd name="T7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33">
                    <a:moveTo>
                      <a:pt x="41" y="0"/>
                    </a:moveTo>
                    <a:lnTo>
                      <a:pt x="0" y="21"/>
                    </a:lnTo>
                    <a:lnTo>
                      <a:pt x="47" y="33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8" name="Freeform 159">
                <a:extLst>
                  <a:ext uri="{FF2B5EF4-FFF2-40B4-BE49-F238E27FC236}">
                    <a16:creationId xmlns:a16="http://schemas.microsoft.com/office/drawing/2014/main" id="{C21DCFD6-754B-4B0C-A0A5-6421E46BE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6025" y="2835275"/>
                <a:ext cx="14288" cy="7938"/>
              </a:xfrm>
              <a:custGeom>
                <a:avLst/>
                <a:gdLst>
                  <a:gd name="T0" fmla="*/ 20 w 43"/>
                  <a:gd name="T1" fmla="*/ 27 h 27"/>
                  <a:gd name="T2" fmla="*/ 43 w 43"/>
                  <a:gd name="T3" fmla="*/ 0 h 27"/>
                  <a:gd name="T4" fmla="*/ 0 w 43"/>
                  <a:gd name="T5" fmla="*/ 11 h 27"/>
                  <a:gd name="T6" fmla="*/ 20 w 43"/>
                  <a:gd name="T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27">
                    <a:moveTo>
                      <a:pt x="20" y="27"/>
                    </a:moveTo>
                    <a:lnTo>
                      <a:pt x="43" y="0"/>
                    </a:lnTo>
                    <a:lnTo>
                      <a:pt x="0" y="11"/>
                    </a:lnTo>
                    <a:lnTo>
                      <a:pt x="20" y="2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9" name="Freeform 160">
                <a:extLst>
                  <a:ext uri="{FF2B5EF4-FFF2-40B4-BE49-F238E27FC236}">
                    <a16:creationId xmlns:a16="http://schemas.microsoft.com/office/drawing/2014/main" id="{1603FF4B-659E-419B-8F25-0DC4FB3B9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900" y="2792413"/>
                <a:ext cx="25400" cy="22225"/>
              </a:xfrm>
              <a:custGeom>
                <a:avLst/>
                <a:gdLst>
                  <a:gd name="T0" fmla="*/ 76 w 76"/>
                  <a:gd name="T1" fmla="*/ 0 h 71"/>
                  <a:gd name="T2" fmla="*/ 36 w 76"/>
                  <a:gd name="T3" fmla="*/ 1 h 71"/>
                  <a:gd name="T4" fmla="*/ 2 w 76"/>
                  <a:gd name="T5" fmla="*/ 31 h 71"/>
                  <a:gd name="T6" fmla="*/ 0 w 76"/>
                  <a:gd name="T7" fmla="*/ 71 h 71"/>
                  <a:gd name="T8" fmla="*/ 63 w 76"/>
                  <a:gd name="T9" fmla="*/ 23 h 71"/>
                  <a:gd name="T10" fmla="*/ 76 w 76"/>
                  <a:gd name="T11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71">
                    <a:moveTo>
                      <a:pt x="76" y="0"/>
                    </a:moveTo>
                    <a:lnTo>
                      <a:pt x="36" y="1"/>
                    </a:lnTo>
                    <a:lnTo>
                      <a:pt x="2" y="31"/>
                    </a:lnTo>
                    <a:lnTo>
                      <a:pt x="0" y="71"/>
                    </a:lnTo>
                    <a:lnTo>
                      <a:pt x="63" y="23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0" name="Freeform 161">
                <a:extLst>
                  <a:ext uri="{FF2B5EF4-FFF2-40B4-BE49-F238E27FC236}">
                    <a16:creationId xmlns:a16="http://schemas.microsoft.com/office/drawing/2014/main" id="{08A5BEC4-6F6C-4627-BA20-80D662B53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3975" y="2576513"/>
                <a:ext cx="66675" cy="112713"/>
              </a:xfrm>
              <a:custGeom>
                <a:avLst/>
                <a:gdLst>
                  <a:gd name="T0" fmla="*/ 100 w 209"/>
                  <a:gd name="T1" fmla="*/ 152 h 355"/>
                  <a:gd name="T2" fmla="*/ 127 w 209"/>
                  <a:gd name="T3" fmla="*/ 156 h 355"/>
                  <a:gd name="T4" fmla="*/ 130 w 209"/>
                  <a:gd name="T5" fmla="*/ 179 h 355"/>
                  <a:gd name="T6" fmla="*/ 123 w 209"/>
                  <a:gd name="T7" fmla="*/ 255 h 355"/>
                  <a:gd name="T8" fmla="*/ 88 w 209"/>
                  <a:gd name="T9" fmla="*/ 332 h 355"/>
                  <a:gd name="T10" fmla="*/ 124 w 209"/>
                  <a:gd name="T11" fmla="*/ 355 h 355"/>
                  <a:gd name="T12" fmla="*/ 141 w 209"/>
                  <a:gd name="T13" fmla="*/ 308 h 355"/>
                  <a:gd name="T14" fmla="*/ 170 w 209"/>
                  <a:gd name="T15" fmla="*/ 265 h 355"/>
                  <a:gd name="T16" fmla="*/ 170 w 209"/>
                  <a:gd name="T17" fmla="*/ 195 h 355"/>
                  <a:gd name="T18" fmla="*/ 187 w 209"/>
                  <a:gd name="T19" fmla="*/ 168 h 355"/>
                  <a:gd name="T20" fmla="*/ 200 w 209"/>
                  <a:gd name="T21" fmla="*/ 185 h 355"/>
                  <a:gd name="T22" fmla="*/ 209 w 209"/>
                  <a:gd name="T23" fmla="*/ 158 h 355"/>
                  <a:gd name="T24" fmla="*/ 152 w 209"/>
                  <a:gd name="T25" fmla="*/ 129 h 355"/>
                  <a:gd name="T26" fmla="*/ 156 w 209"/>
                  <a:gd name="T27" fmla="*/ 105 h 355"/>
                  <a:gd name="T28" fmla="*/ 179 w 209"/>
                  <a:gd name="T29" fmla="*/ 92 h 355"/>
                  <a:gd name="T30" fmla="*/ 156 w 209"/>
                  <a:gd name="T31" fmla="*/ 45 h 355"/>
                  <a:gd name="T32" fmla="*/ 185 w 209"/>
                  <a:gd name="T33" fmla="*/ 25 h 355"/>
                  <a:gd name="T34" fmla="*/ 161 w 209"/>
                  <a:gd name="T35" fmla="*/ 6 h 355"/>
                  <a:gd name="T36" fmla="*/ 131 w 209"/>
                  <a:gd name="T37" fmla="*/ 20 h 355"/>
                  <a:gd name="T38" fmla="*/ 111 w 209"/>
                  <a:gd name="T39" fmla="*/ 0 h 355"/>
                  <a:gd name="T40" fmla="*/ 95 w 209"/>
                  <a:gd name="T41" fmla="*/ 23 h 355"/>
                  <a:gd name="T42" fmla="*/ 82 w 209"/>
                  <a:gd name="T43" fmla="*/ 70 h 355"/>
                  <a:gd name="T44" fmla="*/ 95 w 209"/>
                  <a:gd name="T45" fmla="*/ 93 h 355"/>
                  <a:gd name="T46" fmla="*/ 89 w 209"/>
                  <a:gd name="T47" fmla="*/ 113 h 355"/>
                  <a:gd name="T48" fmla="*/ 72 w 209"/>
                  <a:gd name="T49" fmla="*/ 93 h 355"/>
                  <a:gd name="T50" fmla="*/ 3 w 209"/>
                  <a:gd name="T51" fmla="*/ 113 h 355"/>
                  <a:gd name="T52" fmla="*/ 0 w 209"/>
                  <a:gd name="T53" fmla="*/ 147 h 355"/>
                  <a:gd name="T54" fmla="*/ 63 w 209"/>
                  <a:gd name="T55" fmla="*/ 202 h 355"/>
                  <a:gd name="T56" fmla="*/ 100 w 209"/>
                  <a:gd name="T57" fmla="*/ 15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9" h="355">
                    <a:moveTo>
                      <a:pt x="100" y="152"/>
                    </a:moveTo>
                    <a:lnTo>
                      <a:pt x="127" y="156"/>
                    </a:lnTo>
                    <a:lnTo>
                      <a:pt x="130" y="179"/>
                    </a:lnTo>
                    <a:lnTo>
                      <a:pt x="123" y="255"/>
                    </a:lnTo>
                    <a:lnTo>
                      <a:pt x="88" y="332"/>
                    </a:lnTo>
                    <a:lnTo>
                      <a:pt x="124" y="355"/>
                    </a:lnTo>
                    <a:lnTo>
                      <a:pt x="141" y="308"/>
                    </a:lnTo>
                    <a:lnTo>
                      <a:pt x="170" y="265"/>
                    </a:lnTo>
                    <a:lnTo>
                      <a:pt x="170" y="195"/>
                    </a:lnTo>
                    <a:lnTo>
                      <a:pt x="187" y="168"/>
                    </a:lnTo>
                    <a:lnTo>
                      <a:pt x="200" y="185"/>
                    </a:lnTo>
                    <a:lnTo>
                      <a:pt x="209" y="158"/>
                    </a:lnTo>
                    <a:lnTo>
                      <a:pt x="152" y="129"/>
                    </a:lnTo>
                    <a:lnTo>
                      <a:pt x="156" y="105"/>
                    </a:lnTo>
                    <a:lnTo>
                      <a:pt x="179" y="92"/>
                    </a:lnTo>
                    <a:lnTo>
                      <a:pt x="156" y="45"/>
                    </a:lnTo>
                    <a:lnTo>
                      <a:pt x="185" y="25"/>
                    </a:lnTo>
                    <a:lnTo>
                      <a:pt x="161" y="6"/>
                    </a:lnTo>
                    <a:lnTo>
                      <a:pt x="131" y="20"/>
                    </a:lnTo>
                    <a:lnTo>
                      <a:pt x="111" y="0"/>
                    </a:lnTo>
                    <a:lnTo>
                      <a:pt x="95" y="23"/>
                    </a:lnTo>
                    <a:lnTo>
                      <a:pt x="82" y="70"/>
                    </a:lnTo>
                    <a:lnTo>
                      <a:pt x="95" y="93"/>
                    </a:lnTo>
                    <a:lnTo>
                      <a:pt x="89" y="113"/>
                    </a:lnTo>
                    <a:lnTo>
                      <a:pt x="72" y="93"/>
                    </a:lnTo>
                    <a:lnTo>
                      <a:pt x="3" y="113"/>
                    </a:lnTo>
                    <a:lnTo>
                      <a:pt x="0" y="147"/>
                    </a:lnTo>
                    <a:lnTo>
                      <a:pt x="63" y="202"/>
                    </a:lnTo>
                    <a:lnTo>
                      <a:pt x="100" y="15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1" name="Freeform 162">
                <a:extLst>
                  <a:ext uri="{FF2B5EF4-FFF2-40B4-BE49-F238E27FC236}">
                    <a16:creationId xmlns:a16="http://schemas.microsoft.com/office/drawing/2014/main" id="{8C99AEE9-514F-4D39-977C-64C8BBD4E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538" y="3402013"/>
                <a:ext cx="47625" cy="57150"/>
              </a:xfrm>
              <a:custGeom>
                <a:avLst/>
                <a:gdLst>
                  <a:gd name="T0" fmla="*/ 60 w 149"/>
                  <a:gd name="T1" fmla="*/ 174 h 182"/>
                  <a:gd name="T2" fmla="*/ 93 w 149"/>
                  <a:gd name="T3" fmla="*/ 182 h 182"/>
                  <a:gd name="T4" fmla="*/ 110 w 149"/>
                  <a:gd name="T5" fmla="*/ 152 h 182"/>
                  <a:gd name="T6" fmla="*/ 149 w 149"/>
                  <a:gd name="T7" fmla="*/ 122 h 182"/>
                  <a:gd name="T8" fmla="*/ 132 w 149"/>
                  <a:gd name="T9" fmla="*/ 77 h 182"/>
                  <a:gd name="T10" fmla="*/ 132 w 149"/>
                  <a:gd name="T11" fmla="*/ 37 h 182"/>
                  <a:gd name="T12" fmla="*/ 106 w 149"/>
                  <a:gd name="T13" fmla="*/ 0 h 182"/>
                  <a:gd name="T14" fmla="*/ 76 w 149"/>
                  <a:gd name="T15" fmla="*/ 27 h 182"/>
                  <a:gd name="T16" fmla="*/ 55 w 149"/>
                  <a:gd name="T17" fmla="*/ 53 h 182"/>
                  <a:gd name="T18" fmla="*/ 29 w 149"/>
                  <a:gd name="T19" fmla="*/ 34 h 182"/>
                  <a:gd name="T20" fmla="*/ 0 w 149"/>
                  <a:gd name="T21" fmla="*/ 101 h 182"/>
                  <a:gd name="T22" fmla="*/ 3 w 149"/>
                  <a:gd name="T23" fmla="*/ 140 h 182"/>
                  <a:gd name="T24" fmla="*/ 16 w 149"/>
                  <a:gd name="T25" fmla="*/ 120 h 182"/>
                  <a:gd name="T26" fmla="*/ 42 w 149"/>
                  <a:gd name="T27" fmla="*/ 90 h 182"/>
                  <a:gd name="T28" fmla="*/ 72 w 149"/>
                  <a:gd name="T29" fmla="*/ 90 h 182"/>
                  <a:gd name="T30" fmla="*/ 53 w 149"/>
                  <a:gd name="T31" fmla="*/ 143 h 182"/>
                  <a:gd name="T32" fmla="*/ 60 w 149"/>
                  <a:gd name="T33" fmla="*/ 174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9" h="182">
                    <a:moveTo>
                      <a:pt x="60" y="174"/>
                    </a:moveTo>
                    <a:lnTo>
                      <a:pt x="93" y="182"/>
                    </a:lnTo>
                    <a:lnTo>
                      <a:pt x="110" y="152"/>
                    </a:lnTo>
                    <a:lnTo>
                      <a:pt x="149" y="122"/>
                    </a:lnTo>
                    <a:lnTo>
                      <a:pt x="132" y="77"/>
                    </a:lnTo>
                    <a:lnTo>
                      <a:pt x="132" y="37"/>
                    </a:lnTo>
                    <a:lnTo>
                      <a:pt x="106" y="0"/>
                    </a:lnTo>
                    <a:lnTo>
                      <a:pt x="76" y="27"/>
                    </a:lnTo>
                    <a:lnTo>
                      <a:pt x="55" y="53"/>
                    </a:lnTo>
                    <a:lnTo>
                      <a:pt x="29" y="34"/>
                    </a:lnTo>
                    <a:lnTo>
                      <a:pt x="0" y="101"/>
                    </a:lnTo>
                    <a:lnTo>
                      <a:pt x="3" y="140"/>
                    </a:lnTo>
                    <a:lnTo>
                      <a:pt x="16" y="120"/>
                    </a:lnTo>
                    <a:lnTo>
                      <a:pt x="42" y="90"/>
                    </a:lnTo>
                    <a:lnTo>
                      <a:pt x="72" y="90"/>
                    </a:lnTo>
                    <a:lnTo>
                      <a:pt x="53" y="143"/>
                    </a:lnTo>
                    <a:lnTo>
                      <a:pt x="60" y="17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2" name="Freeform 163">
                <a:extLst>
                  <a:ext uri="{FF2B5EF4-FFF2-40B4-BE49-F238E27FC236}">
                    <a16:creationId xmlns:a16="http://schemas.microsoft.com/office/drawing/2014/main" id="{611B1F5C-1640-4474-B898-179EA6C14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4216400"/>
                <a:ext cx="55563" cy="33338"/>
              </a:xfrm>
              <a:custGeom>
                <a:avLst/>
                <a:gdLst>
                  <a:gd name="T0" fmla="*/ 101 w 174"/>
                  <a:gd name="T1" fmla="*/ 13 h 102"/>
                  <a:gd name="T2" fmla="*/ 84 w 174"/>
                  <a:gd name="T3" fmla="*/ 0 h 102"/>
                  <a:gd name="T4" fmla="*/ 14 w 174"/>
                  <a:gd name="T5" fmla="*/ 53 h 102"/>
                  <a:gd name="T6" fmla="*/ 0 w 174"/>
                  <a:gd name="T7" fmla="*/ 63 h 102"/>
                  <a:gd name="T8" fmla="*/ 44 w 174"/>
                  <a:gd name="T9" fmla="*/ 63 h 102"/>
                  <a:gd name="T10" fmla="*/ 121 w 174"/>
                  <a:gd name="T11" fmla="*/ 102 h 102"/>
                  <a:gd name="T12" fmla="*/ 144 w 174"/>
                  <a:gd name="T13" fmla="*/ 95 h 102"/>
                  <a:gd name="T14" fmla="*/ 168 w 174"/>
                  <a:gd name="T15" fmla="*/ 72 h 102"/>
                  <a:gd name="T16" fmla="*/ 174 w 174"/>
                  <a:gd name="T17" fmla="*/ 49 h 102"/>
                  <a:gd name="T18" fmla="*/ 157 w 174"/>
                  <a:gd name="T19" fmla="*/ 25 h 102"/>
                  <a:gd name="T20" fmla="*/ 101 w 174"/>
                  <a:gd name="T21" fmla="*/ 13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102">
                    <a:moveTo>
                      <a:pt x="101" y="13"/>
                    </a:moveTo>
                    <a:lnTo>
                      <a:pt x="84" y="0"/>
                    </a:lnTo>
                    <a:lnTo>
                      <a:pt x="14" y="53"/>
                    </a:lnTo>
                    <a:lnTo>
                      <a:pt x="0" y="63"/>
                    </a:lnTo>
                    <a:lnTo>
                      <a:pt x="44" y="63"/>
                    </a:lnTo>
                    <a:lnTo>
                      <a:pt x="121" y="102"/>
                    </a:lnTo>
                    <a:lnTo>
                      <a:pt x="144" y="95"/>
                    </a:lnTo>
                    <a:lnTo>
                      <a:pt x="168" y="72"/>
                    </a:lnTo>
                    <a:lnTo>
                      <a:pt x="174" y="49"/>
                    </a:lnTo>
                    <a:lnTo>
                      <a:pt x="157" y="25"/>
                    </a:lnTo>
                    <a:lnTo>
                      <a:pt x="101" y="1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3" name="Freeform 165">
                <a:extLst>
                  <a:ext uri="{FF2B5EF4-FFF2-40B4-BE49-F238E27FC236}">
                    <a16:creationId xmlns:a16="http://schemas.microsoft.com/office/drawing/2014/main" id="{D8B6B392-AEAC-49A0-83AB-98583FD87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3133725"/>
                <a:ext cx="20638" cy="14288"/>
              </a:xfrm>
              <a:custGeom>
                <a:avLst/>
                <a:gdLst>
                  <a:gd name="T0" fmla="*/ 30 w 63"/>
                  <a:gd name="T1" fmla="*/ 0 h 47"/>
                  <a:gd name="T2" fmla="*/ 3 w 63"/>
                  <a:gd name="T3" fmla="*/ 4 h 47"/>
                  <a:gd name="T4" fmla="*/ 0 w 63"/>
                  <a:gd name="T5" fmla="*/ 28 h 47"/>
                  <a:gd name="T6" fmla="*/ 23 w 63"/>
                  <a:gd name="T7" fmla="*/ 40 h 47"/>
                  <a:gd name="T8" fmla="*/ 46 w 63"/>
                  <a:gd name="T9" fmla="*/ 47 h 47"/>
                  <a:gd name="T10" fmla="*/ 63 w 63"/>
                  <a:gd name="T11" fmla="*/ 17 h 47"/>
                  <a:gd name="T12" fmla="*/ 30 w 63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47">
                    <a:moveTo>
                      <a:pt x="30" y="0"/>
                    </a:moveTo>
                    <a:lnTo>
                      <a:pt x="3" y="4"/>
                    </a:lnTo>
                    <a:lnTo>
                      <a:pt x="0" y="28"/>
                    </a:lnTo>
                    <a:lnTo>
                      <a:pt x="23" y="40"/>
                    </a:lnTo>
                    <a:lnTo>
                      <a:pt x="46" y="47"/>
                    </a:lnTo>
                    <a:lnTo>
                      <a:pt x="63" y="17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4" name="Freeform 169">
                <a:extLst>
                  <a:ext uri="{FF2B5EF4-FFF2-40B4-BE49-F238E27FC236}">
                    <a16:creationId xmlns:a16="http://schemas.microsoft.com/office/drawing/2014/main" id="{22DB65D6-9FD4-445A-B5F6-00EA35029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0113" y="2919413"/>
                <a:ext cx="768350" cy="1417638"/>
              </a:xfrm>
              <a:custGeom>
                <a:avLst/>
                <a:gdLst>
                  <a:gd name="T0" fmla="*/ 1971 w 2422"/>
                  <a:gd name="T1" fmla="*/ 3120 h 4462"/>
                  <a:gd name="T2" fmla="*/ 1851 w 2422"/>
                  <a:gd name="T3" fmla="*/ 2723 h 4462"/>
                  <a:gd name="T4" fmla="*/ 1744 w 2422"/>
                  <a:gd name="T5" fmla="*/ 2651 h 4462"/>
                  <a:gd name="T6" fmla="*/ 1835 w 2422"/>
                  <a:gd name="T7" fmla="*/ 2435 h 4462"/>
                  <a:gd name="T8" fmla="*/ 1493 w 2422"/>
                  <a:gd name="T9" fmla="*/ 2229 h 4462"/>
                  <a:gd name="T10" fmla="*/ 1393 w 2422"/>
                  <a:gd name="T11" fmla="*/ 1814 h 4462"/>
                  <a:gd name="T12" fmla="*/ 1311 w 2422"/>
                  <a:gd name="T13" fmla="*/ 1643 h 4462"/>
                  <a:gd name="T14" fmla="*/ 954 w 2422"/>
                  <a:gd name="T15" fmla="*/ 1490 h 4462"/>
                  <a:gd name="T16" fmla="*/ 889 w 2422"/>
                  <a:gd name="T17" fmla="*/ 1438 h 4462"/>
                  <a:gd name="T18" fmla="*/ 1018 w 2422"/>
                  <a:gd name="T19" fmla="*/ 1287 h 4462"/>
                  <a:gd name="T20" fmla="*/ 1071 w 2422"/>
                  <a:gd name="T21" fmla="*/ 1163 h 4462"/>
                  <a:gd name="T22" fmla="*/ 1284 w 2422"/>
                  <a:gd name="T23" fmla="*/ 554 h 4462"/>
                  <a:gd name="T24" fmla="*/ 821 w 2422"/>
                  <a:gd name="T25" fmla="*/ 548 h 4462"/>
                  <a:gd name="T26" fmla="*/ 519 w 2422"/>
                  <a:gd name="T27" fmla="*/ 644 h 4462"/>
                  <a:gd name="T28" fmla="*/ 522 w 2422"/>
                  <a:gd name="T29" fmla="*/ 584 h 4462"/>
                  <a:gd name="T30" fmla="*/ 607 w 2422"/>
                  <a:gd name="T31" fmla="*/ 434 h 4462"/>
                  <a:gd name="T32" fmla="*/ 923 w 2422"/>
                  <a:gd name="T33" fmla="*/ 83 h 4462"/>
                  <a:gd name="T34" fmla="*/ 527 w 2422"/>
                  <a:gd name="T35" fmla="*/ 76 h 4462"/>
                  <a:gd name="T36" fmla="*/ 301 w 2422"/>
                  <a:gd name="T37" fmla="*/ 132 h 4462"/>
                  <a:gd name="T38" fmla="*/ 273 w 2422"/>
                  <a:gd name="T39" fmla="*/ 335 h 4462"/>
                  <a:gd name="T40" fmla="*/ 247 w 2422"/>
                  <a:gd name="T41" fmla="*/ 454 h 4462"/>
                  <a:gd name="T42" fmla="*/ 176 w 2422"/>
                  <a:gd name="T43" fmla="*/ 663 h 4462"/>
                  <a:gd name="T44" fmla="*/ 234 w 2422"/>
                  <a:gd name="T45" fmla="*/ 789 h 4462"/>
                  <a:gd name="T46" fmla="*/ 102 w 2422"/>
                  <a:gd name="T47" fmla="*/ 986 h 4462"/>
                  <a:gd name="T48" fmla="*/ 78 w 2422"/>
                  <a:gd name="T49" fmla="*/ 1089 h 4462"/>
                  <a:gd name="T50" fmla="*/ 247 w 2422"/>
                  <a:gd name="T51" fmla="*/ 1111 h 4462"/>
                  <a:gd name="T52" fmla="*/ 252 w 2422"/>
                  <a:gd name="T53" fmla="*/ 1250 h 4462"/>
                  <a:gd name="T54" fmla="*/ 190 w 2422"/>
                  <a:gd name="T55" fmla="*/ 1483 h 4462"/>
                  <a:gd name="T56" fmla="*/ 123 w 2422"/>
                  <a:gd name="T57" fmla="*/ 1855 h 4462"/>
                  <a:gd name="T58" fmla="*/ 230 w 2422"/>
                  <a:gd name="T59" fmla="*/ 1477 h 4462"/>
                  <a:gd name="T60" fmla="*/ 347 w 2422"/>
                  <a:gd name="T61" fmla="*/ 1502 h 4462"/>
                  <a:gd name="T62" fmla="*/ 430 w 2422"/>
                  <a:gd name="T63" fmla="*/ 1491 h 4462"/>
                  <a:gd name="T64" fmla="*/ 357 w 2422"/>
                  <a:gd name="T65" fmla="*/ 1973 h 4462"/>
                  <a:gd name="T66" fmla="*/ 430 w 2422"/>
                  <a:gd name="T67" fmla="*/ 2195 h 4462"/>
                  <a:gd name="T68" fmla="*/ 556 w 2422"/>
                  <a:gd name="T69" fmla="*/ 2067 h 4462"/>
                  <a:gd name="T70" fmla="*/ 831 w 2422"/>
                  <a:gd name="T71" fmla="*/ 1972 h 4462"/>
                  <a:gd name="T72" fmla="*/ 845 w 2422"/>
                  <a:gd name="T73" fmla="*/ 2108 h 4462"/>
                  <a:gd name="T74" fmla="*/ 939 w 2422"/>
                  <a:gd name="T75" fmla="*/ 2443 h 4462"/>
                  <a:gd name="T76" fmla="*/ 1033 w 2422"/>
                  <a:gd name="T77" fmla="*/ 2538 h 4462"/>
                  <a:gd name="T78" fmla="*/ 1046 w 2422"/>
                  <a:gd name="T79" fmla="*/ 2842 h 4462"/>
                  <a:gd name="T80" fmla="*/ 827 w 2422"/>
                  <a:gd name="T81" fmla="*/ 2885 h 4462"/>
                  <a:gd name="T82" fmla="*/ 409 w 2422"/>
                  <a:gd name="T83" fmla="*/ 3134 h 4462"/>
                  <a:gd name="T84" fmla="*/ 632 w 2422"/>
                  <a:gd name="T85" fmla="*/ 3085 h 4462"/>
                  <a:gd name="T86" fmla="*/ 435 w 2422"/>
                  <a:gd name="T87" fmla="*/ 3505 h 4462"/>
                  <a:gd name="T88" fmla="*/ 353 w 2422"/>
                  <a:gd name="T89" fmla="*/ 3659 h 4462"/>
                  <a:gd name="T90" fmla="*/ 600 w 2422"/>
                  <a:gd name="T91" fmla="*/ 3717 h 4462"/>
                  <a:gd name="T92" fmla="*/ 1110 w 2422"/>
                  <a:gd name="T93" fmla="*/ 3652 h 4462"/>
                  <a:gd name="T94" fmla="*/ 755 w 2422"/>
                  <a:gd name="T95" fmla="*/ 3871 h 4462"/>
                  <a:gd name="T96" fmla="*/ 421 w 2422"/>
                  <a:gd name="T97" fmla="*/ 4163 h 4462"/>
                  <a:gd name="T98" fmla="*/ 331 w 2422"/>
                  <a:gd name="T99" fmla="*/ 4446 h 4462"/>
                  <a:gd name="T100" fmla="*/ 773 w 2422"/>
                  <a:gd name="T101" fmla="*/ 4335 h 4462"/>
                  <a:gd name="T102" fmla="*/ 1211 w 2422"/>
                  <a:gd name="T103" fmla="*/ 4176 h 4462"/>
                  <a:gd name="T104" fmla="*/ 1461 w 2422"/>
                  <a:gd name="T105" fmla="*/ 4074 h 4462"/>
                  <a:gd name="T106" fmla="*/ 1617 w 2422"/>
                  <a:gd name="T107" fmla="*/ 4062 h 4462"/>
                  <a:gd name="T108" fmla="*/ 2292 w 2422"/>
                  <a:gd name="T109" fmla="*/ 3927 h 4462"/>
                  <a:gd name="T110" fmla="*/ 2058 w 2422"/>
                  <a:gd name="T111" fmla="*/ 3833 h 4462"/>
                  <a:gd name="T112" fmla="*/ 2106 w 2422"/>
                  <a:gd name="T113" fmla="*/ 3613 h 4462"/>
                  <a:gd name="T114" fmla="*/ 2265 w 2422"/>
                  <a:gd name="T115" fmla="*/ 3492 h 4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22" h="4462">
                    <a:moveTo>
                      <a:pt x="2351" y="3110"/>
                    </a:moveTo>
                    <a:lnTo>
                      <a:pt x="2314" y="3051"/>
                    </a:lnTo>
                    <a:lnTo>
                      <a:pt x="2170" y="3025"/>
                    </a:lnTo>
                    <a:lnTo>
                      <a:pt x="2103" y="3013"/>
                    </a:lnTo>
                    <a:lnTo>
                      <a:pt x="2060" y="3020"/>
                    </a:lnTo>
                    <a:lnTo>
                      <a:pt x="2013" y="3030"/>
                    </a:lnTo>
                    <a:lnTo>
                      <a:pt x="2001" y="3066"/>
                    </a:lnTo>
                    <a:lnTo>
                      <a:pt x="1988" y="3113"/>
                    </a:lnTo>
                    <a:lnTo>
                      <a:pt x="1971" y="3120"/>
                    </a:lnTo>
                    <a:lnTo>
                      <a:pt x="1914" y="3098"/>
                    </a:lnTo>
                    <a:lnTo>
                      <a:pt x="1887" y="3064"/>
                    </a:lnTo>
                    <a:lnTo>
                      <a:pt x="1914" y="3004"/>
                    </a:lnTo>
                    <a:lnTo>
                      <a:pt x="1956" y="2964"/>
                    </a:lnTo>
                    <a:lnTo>
                      <a:pt x="1980" y="2927"/>
                    </a:lnTo>
                    <a:lnTo>
                      <a:pt x="1972" y="2841"/>
                    </a:lnTo>
                    <a:lnTo>
                      <a:pt x="1945" y="2795"/>
                    </a:lnTo>
                    <a:lnTo>
                      <a:pt x="1897" y="2746"/>
                    </a:lnTo>
                    <a:lnTo>
                      <a:pt x="1851" y="2723"/>
                    </a:lnTo>
                    <a:lnTo>
                      <a:pt x="1827" y="2690"/>
                    </a:lnTo>
                    <a:lnTo>
                      <a:pt x="1787" y="2693"/>
                    </a:lnTo>
                    <a:lnTo>
                      <a:pt x="1747" y="2691"/>
                    </a:lnTo>
                    <a:lnTo>
                      <a:pt x="1720" y="2668"/>
                    </a:lnTo>
                    <a:lnTo>
                      <a:pt x="1680" y="2668"/>
                    </a:lnTo>
                    <a:lnTo>
                      <a:pt x="1638" y="2672"/>
                    </a:lnTo>
                    <a:lnTo>
                      <a:pt x="1647" y="2652"/>
                    </a:lnTo>
                    <a:lnTo>
                      <a:pt x="1690" y="2654"/>
                    </a:lnTo>
                    <a:lnTo>
                      <a:pt x="1744" y="2651"/>
                    </a:lnTo>
                    <a:lnTo>
                      <a:pt x="1794" y="2680"/>
                    </a:lnTo>
                    <a:lnTo>
                      <a:pt x="1837" y="2680"/>
                    </a:lnTo>
                    <a:lnTo>
                      <a:pt x="1854" y="2693"/>
                    </a:lnTo>
                    <a:lnTo>
                      <a:pt x="1917" y="2682"/>
                    </a:lnTo>
                    <a:lnTo>
                      <a:pt x="1951" y="2719"/>
                    </a:lnTo>
                    <a:lnTo>
                      <a:pt x="1931" y="2665"/>
                    </a:lnTo>
                    <a:lnTo>
                      <a:pt x="1856" y="2593"/>
                    </a:lnTo>
                    <a:lnTo>
                      <a:pt x="1808" y="2471"/>
                    </a:lnTo>
                    <a:lnTo>
                      <a:pt x="1835" y="2435"/>
                    </a:lnTo>
                    <a:lnTo>
                      <a:pt x="1775" y="2395"/>
                    </a:lnTo>
                    <a:lnTo>
                      <a:pt x="1740" y="2319"/>
                    </a:lnTo>
                    <a:lnTo>
                      <a:pt x="1663" y="2250"/>
                    </a:lnTo>
                    <a:lnTo>
                      <a:pt x="1613" y="2214"/>
                    </a:lnTo>
                    <a:lnTo>
                      <a:pt x="1586" y="2187"/>
                    </a:lnTo>
                    <a:lnTo>
                      <a:pt x="1556" y="2187"/>
                    </a:lnTo>
                    <a:lnTo>
                      <a:pt x="1546" y="2204"/>
                    </a:lnTo>
                    <a:lnTo>
                      <a:pt x="1513" y="2209"/>
                    </a:lnTo>
                    <a:lnTo>
                      <a:pt x="1493" y="2229"/>
                    </a:lnTo>
                    <a:lnTo>
                      <a:pt x="1513" y="2178"/>
                    </a:lnTo>
                    <a:lnTo>
                      <a:pt x="1533" y="2142"/>
                    </a:lnTo>
                    <a:lnTo>
                      <a:pt x="1505" y="2108"/>
                    </a:lnTo>
                    <a:lnTo>
                      <a:pt x="1488" y="2086"/>
                    </a:lnTo>
                    <a:lnTo>
                      <a:pt x="1448" y="2069"/>
                    </a:lnTo>
                    <a:lnTo>
                      <a:pt x="1458" y="2049"/>
                    </a:lnTo>
                    <a:lnTo>
                      <a:pt x="1427" y="1980"/>
                    </a:lnTo>
                    <a:lnTo>
                      <a:pt x="1414" y="1864"/>
                    </a:lnTo>
                    <a:lnTo>
                      <a:pt x="1393" y="1814"/>
                    </a:lnTo>
                    <a:lnTo>
                      <a:pt x="1359" y="1799"/>
                    </a:lnTo>
                    <a:lnTo>
                      <a:pt x="1373" y="1772"/>
                    </a:lnTo>
                    <a:lnTo>
                      <a:pt x="1406" y="1754"/>
                    </a:lnTo>
                    <a:lnTo>
                      <a:pt x="1368" y="1675"/>
                    </a:lnTo>
                    <a:lnTo>
                      <a:pt x="1368" y="1675"/>
                    </a:lnTo>
                    <a:lnTo>
                      <a:pt x="1342" y="1663"/>
                    </a:lnTo>
                    <a:lnTo>
                      <a:pt x="1323" y="1651"/>
                    </a:lnTo>
                    <a:lnTo>
                      <a:pt x="1316" y="1647"/>
                    </a:lnTo>
                    <a:lnTo>
                      <a:pt x="1311" y="1643"/>
                    </a:lnTo>
                    <a:lnTo>
                      <a:pt x="1311" y="1643"/>
                    </a:lnTo>
                    <a:lnTo>
                      <a:pt x="1237" y="1537"/>
                    </a:lnTo>
                    <a:lnTo>
                      <a:pt x="1180" y="1514"/>
                    </a:lnTo>
                    <a:lnTo>
                      <a:pt x="1133" y="1498"/>
                    </a:lnTo>
                    <a:lnTo>
                      <a:pt x="1100" y="1462"/>
                    </a:lnTo>
                    <a:lnTo>
                      <a:pt x="1063" y="1442"/>
                    </a:lnTo>
                    <a:lnTo>
                      <a:pt x="1026" y="1440"/>
                    </a:lnTo>
                    <a:lnTo>
                      <a:pt x="980" y="1483"/>
                    </a:lnTo>
                    <a:lnTo>
                      <a:pt x="954" y="1490"/>
                    </a:lnTo>
                    <a:lnTo>
                      <a:pt x="883" y="1483"/>
                    </a:lnTo>
                    <a:lnTo>
                      <a:pt x="833" y="1468"/>
                    </a:lnTo>
                    <a:lnTo>
                      <a:pt x="796" y="1454"/>
                    </a:lnTo>
                    <a:lnTo>
                      <a:pt x="746" y="1449"/>
                    </a:lnTo>
                    <a:lnTo>
                      <a:pt x="700" y="1455"/>
                    </a:lnTo>
                    <a:lnTo>
                      <a:pt x="700" y="1439"/>
                    </a:lnTo>
                    <a:lnTo>
                      <a:pt x="776" y="1432"/>
                    </a:lnTo>
                    <a:lnTo>
                      <a:pt x="857" y="1431"/>
                    </a:lnTo>
                    <a:lnTo>
                      <a:pt x="889" y="1438"/>
                    </a:lnTo>
                    <a:lnTo>
                      <a:pt x="936" y="1416"/>
                    </a:lnTo>
                    <a:lnTo>
                      <a:pt x="959" y="1386"/>
                    </a:lnTo>
                    <a:lnTo>
                      <a:pt x="969" y="1357"/>
                    </a:lnTo>
                    <a:lnTo>
                      <a:pt x="1006" y="1360"/>
                    </a:lnTo>
                    <a:lnTo>
                      <a:pt x="1048" y="1360"/>
                    </a:lnTo>
                    <a:lnTo>
                      <a:pt x="1062" y="1340"/>
                    </a:lnTo>
                    <a:lnTo>
                      <a:pt x="1065" y="1323"/>
                    </a:lnTo>
                    <a:lnTo>
                      <a:pt x="1055" y="1299"/>
                    </a:lnTo>
                    <a:lnTo>
                      <a:pt x="1018" y="1287"/>
                    </a:lnTo>
                    <a:lnTo>
                      <a:pt x="1025" y="1267"/>
                    </a:lnTo>
                    <a:lnTo>
                      <a:pt x="998" y="1250"/>
                    </a:lnTo>
                    <a:lnTo>
                      <a:pt x="958" y="1254"/>
                    </a:lnTo>
                    <a:lnTo>
                      <a:pt x="928" y="1274"/>
                    </a:lnTo>
                    <a:lnTo>
                      <a:pt x="921" y="1258"/>
                    </a:lnTo>
                    <a:lnTo>
                      <a:pt x="961" y="1220"/>
                    </a:lnTo>
                    <a:lnTo>
                      <a:pt x="1032" y="1244"/>
                    </a:lnTo>
                    <a:lnTo>
                      <a:pt x="1057" y="1200"/>
                    </a:lnTo>
                    <a:lnTo>
                      <a:pt x="1071" y="1163"/>
                    </a:lnTo>
                    <a:lnTo>
                      <a:pt x="1116" y="1133"/>
                    </a:lnTo>
                    <a:lnTo>
                      <a:pt x="1120" y="1090"/>
                    </a:lnTo>
                    <a:lnTo>
                      <a:pt x="1170" y="1057"/>
                    </a:lnTo>
                    <a:lnTo>
                      <a:pt x="1179" y="990"/>
                    </a:lnTo>
                    <a:lnTo>
                      <a:pt x="1224" y="896"/>
                    </a:lnTo>
                    <a:lnTo>
                      <a:pt x="1237" y="804"/>
                    </a:lnTo>
                    <a:lnTo>
                      <a:pt x="1300" y="720"/>
                    </a:lnTo>
                    <a:lnTo>
                      <a:pt x="1306" y="614"/>
                    </a:lnTo>
                    <a:lnTo>
                      <a:pt x="1284" y="554"/>
                    </a:lnTo>
                    <a:lnTo>
                      <a:pt x="1244" y="541"/>
                    </a:lnTo>
                    <a:lnTo>
                      <a:pt x="1168" y="538"/>
                    </a:lnTo>
                    <a:lnTo>
                      <a:pt x="1095" y="546"/>
                    </a:lnTo>
                    <a:lnTo>
                      <a:pt x="1055" y="526"/>
                    </a:lnTo>
                    <a:lnTo>
                      <a:pt x="995" y="543"/>
                    </a:lnTo>
                    <a:lnTo>
                      <a:pt x="961" y="561"/>
                    </a:lnTo>
                    <a:lnTo>
                      <a:pt x="921" y="547"/>
                    </a:lnTo>
                    <a:lnTo>
                      <a:pt x="868" y="528"/>
                    </a:lnTo>
                    <a:lnTo>
                      <a:pt x="821" y="548"/>
                    </a:lnTo>
                    <a:lnTo>
                      <a:pt x="795" y="569"/>
                    </a:lnTo>
                    <a:lnTo>
                      <a:pt x="762" y="579"/>
                    </a:lnTo>
                    <a:lnTo>
                      <a:pt x="715" y="583"/>
                    </a:lnTo>
                    <a:lnTo>
                      <a:pt x="702" y="596"/>
                    </a:lnTo>
                    <a:lnTo>
                      <a:pt x="632" y="610"/>
                    </a:lnTo>
                    <a:lnTo>
                      <a:pt x="649" y="630"/>
                    </a:lnTo>
                    <a:lnTo>
                      <a:pt x="596" y="673"/>
                    </a:lnTo>
                    <a:lnTo>
                      <a:pt x="572" y="677"/>
                    </a:lnTo>
                    <a:lnTo>
                      <a:pt x="519" y="644"/>
                    </a:lnTo>
                    <a:lnTo>
                      <a:pt x="529" y="634"/>
                    </a:lnTo>
                    <a:lnTo>
                      <a:pt x="549" y="638"/>
                    </a:lnTo>
                    <a:lnTo>
                      <a:pt x="583" y="630"/>
                    </a:lnTo>
                    <a:lnTo>
                      <a:pt x="615" y="613"/>
                    </a:lnTo>
                    <a:lnTo>
                      <a:pt x="632" y="546"/>
                    </a:lnTo>
                    <a:lnTo>
                      <a:pt x="615" y="547"/>
                    </a:lnTo>
                    <a:lnTo>
                      <a:pt x="565" y="567"/>
                    </a:lnTo>
                    <a:lnTo>
                      <a:pt x="526" y="597"/>
                    </a:lnTo>
                    <a:lnTo>
                      <a:pt x="522" y="584"/>
                    </a:lnTo>
                    <a:lnTo>
                      <a:pt x="565" y="534"/>
                    </a:lnTo>
                    <a:lnTo>
                      <a:pt x="650" y="501"/>
                    </a:lnTo>
                    <a:lnTo>
                      <a:pt x="668" y="523"/>
                    </a:lnTo>
                    <a:lnTo>
                      <a:pt x="721" y="453"/>
                    </a:lnTo>
                    <a:lnTo>
                      <a:pt x="704" y="446"/>
                    </a:lnTo>
                    <a:lnTo>
                      <a:pt x="614" y="474"/>
                    </a:lnTo>
                    <a:lnTo>
                      <a:pt x="604" y="457"/>
                    </a:lnTo>
                    <a:lnTo>
                      <a:pt x="557" y="448"/>
                    </a:lnTo>
                    <a:lnTo>
                      <a:pt x="607" y="434"/>
                    </a:lnTo>
                    <a:lnTo>
                      <a:pt x="630" y="437"/>
                    </a:lnTo>
                    <a:lnTo>
                      <a:pt x="683" y="384"/>
                    </a:lnTo>
                    <a:lnTo>
                      <a:pt x="686" y="360"/>
                    </a:lnTo>
                    <a:lnTo>
                      <a:pt x="730" y="340"/>
                    </a:lnTo>
                    <a:lnTo>
                      <a:pt x="759" y="293"/>
                    </a:lnTo>
                    <a:lnTo>
                      <a:pt x="861" y="203"/>
                    </a:lnTo>
                    <a:lnTo>
                      <a:pt x="928" y="162"/>
                    </a:lnTo>
                    <a:lnTo>
                      <a:pt x="957" y="89"/>
                    </a:lnTo>
                    <a:lnTo>
                      <a:pt x="923" y="83"/>
                    </a:lnTo>
                    <a:lnTo>
                      <a:pt x="910" y="59"/>
                    </a:lnTo>
                    <a:lnTo>
                      <a:pt x="917" y="23"/>
                    </a:lnTo>
                    <a:lnTo>
                      <a:pt x="893" y="0"/>
                    </a:lnTo>
                    <a:lnTo>
                      <a:pt x="770" y="35"/>
                    </a:lnTo>
                    <a:lnTo>
                      <a:pt x="721" y="68"/>
                    </a:lnTo>
                    <a:lnTo>
                      <a:pt x="671" y="38"/>
                    </a:lnTo>
                    <a:lnTo>
                      <a:pt x="590" y="69"/>
                    </a:lnTo>
                    <a:lnTo>
                      <a:pt x="550" y="89"/>
                    </a:lnTo>
                    <a:lnTo>
                      <a:pt x="527" y="76"/>
                    </a:lnTo>
                    <a:lnTo>
                      <a:pt x="497" y="54"/>
                    </a:lnTo>
                    <a:lnTo>
                      <a:pt x="473" y="54"/>
                    </a:lnTo>
                    <a:lnTo>
                      <a:pt x="463" y="74"/>
                    </a:lnTo>
                    <a:lnTo>
                      <a:pt x="427" y="44"/>
                    </a:lnTo>
                    <a:lnTo>
                      <a:pt x="396" y="25"/>
                    </a:lnTo>
                    <a:lnTo>
                      <a:pt x="363" y="38"/>
                    </a:lnTo>
                    <a:lnTo>
                      <a:pt x="347" y="38"/>
                    </a:lnTo>
                    <a:lnTo>
                      <a:pt x="341" y="78"/>
                    </a:lnTo>
                    <a:lnTo>
                      <a:pt x="301" y="132"/>
                    </a:lnTo>
                    <a:lnTo>
                      <a:pt x="298" y="169"/>
                    </a:lnTo>
                    <a:lnTo>
                      <a:pt x="305" y="204"/>
                    </a:lnTo>
                    <a:lnTo>
                      <a:pt x="362" y="234"/>
                    </a:lnTo>
                    <a:lnTo>
                      <a:pt x="362" y="253"/>
                    </a:lnTo>
                    <a:lnTo>
                      <a:pt x="315" y="224"/>
                    </a:lnTo>
                    <a:lnTo>
                      <a:pt x="282" y="244"/>
                    </a:lnTo>
                    <a:lnTo>
                      <a:pt x="253" y="271"/>
                    </a:lnTo>
                    <a:lnTo>
                      <a:pt x="279" y="318"/>
                    </a:lnTo>
                    <a:lnTo>
                      <a:pt x="273" y="335"/>
                    </a:lnTo>
                    <a:lnTo>
                      <a:pt x="243" y="318"/>
                    </a:lnTo>
                    <a:lnTo>
                      <a:pt x="219" y="325"/>
                    </a:lnTo>
                    <a:lnTo>
                      <a:pt x="219" y="345"/>
                    </a:lnTo>
                    <a:lnTo>
                      <a:pt x="264" y="381"/>
                    </a:lnTo>
                    <a:lnTo>
                      <a:pt x="297" y="437"/>
                    </a:lnTo>
                    <a:lnTo>
                      <a:pt x="284" y="450"/>
                    </a:lnTo>
                    <a:lnTo>
                      <a:pt x="244" y="424"/>
                    </a:lnTo>
                    <a:lnTo>
                      <a:pt x="234" y="437"/>
                    </a:lnTo>
                    <a:lnTo>
                      <a:pt x="247" y="454"/>
                    </a:lnTo>
                    <a:lnTo>
                      <a:pt x="174" y="452"/>
                    </a:lnTo>
                    <a:lnTo>
                      <a:pt x="133" y="452"/>
                    </a:lnTo>
                    <a:lnTo>
                      <a:pt x="105" y="482"/>
                    </a:lnTo>
                    <a:lnTo>
                      <a:pt x="151" y="544"/>
                    </a:lnTo>
                    <a:lnTo>
                      <a:pt x="125" y="548"/>
                    </a:lnTo>
                    <a:lnTo>
                      <a:pt x="111" y="569"/>
                    </a:lnTo>
                    <a:lnTo>
                      <a:pt x="172" y="644"/>
                    </a:lnTo>
                    <a:lnTo>
                      <a:pt x="213" y="660"/>
                    </a:lnTo>
                    <a:lnTo>
                      <a:pt x="176" y="663"/>
                    </a:lnTo>
                    <a:lnTo>
                      <a:pt x="119" y="631"/>
                    </a:lnTo>
                    <a:lnTo>
                      <a:pt x="92" y="644"/>
                    </a:lnTo>
                    <a:lnTo>
                      <a:pt x="107" y="711"/>
                    </a:lnTo>
                    <a:lnTo>
                      <a:pt x="150" y="770"/>
                    </a:lnTo>
                    <a:lnTo>
                      <a:pt x="187" y="720"/>
                    </a:lnTo>
                    <a:lnTo>
                      <a:pt x="187" y="747"/>
                    </a:lnTo>
                    <a:lnTo>
                      <a:pt x="256" y="722"/>
                    </a:lnTo>
                    <a:lnTo>
                      <a:pt x="180" y="770"/>
                    </a:lnTo>
                    <a:lnTo>
                      <a:pt x="234" y="789"/>
                    </a:lnTo>
                    <a:lnTo>
                      <a:pt x="230" y="806"/>
                    </a:lnTo>
                    <a:lnTo>
                      <a:pt x="177" y="816"/>
                    </a:lnTo>
                    <a:lnTo>
                      <a:pt x="158" y="843"/>
                    </a:lnTo>
                    <a:lnTo>
                      <a:pt x="205" y="896"/>
                    </a:lnTo>
                    <a:lnTo>
                      <a:pt x="165" y="876"/>
                    </a:lnTo>
                    <a:lnTo>
                      <a:pt x="118" y="906"/>
                    </a:lnTo>
                    <a:lnTo>
                      <a:pt x="178" y="936"/>
                    </a:lnTo>
                    <a:lnTo>
                      <a:pt x="115" y="944"/>
                    </a:lnTo>
                    <a:lnTo>
                      <a:pt x="102" y="986"/>
                    </a:lnTo>
                    <a:lnTo>
                      <a:pt x="132" y="1025"/>
                    </a:lnTo>
                    <a:lnTo>
                      <a:pt x="127" y="1062"/>
                    </a:lnTo>
                    <a:lnTo>
                      <a:pt x="100" y="1065"/>
                    </a:lnTo>
                    <a:lnTo>
                      <a:pt x="67" y="1057"/>
                    </a:lnTo>
                    <a:lnTo>
                      <a:pt x="3" y="1070"/>
                    </a:lnTo>
                    <a:lnTo>
                      <a:pt x="0" y="1093"/>
                    </a:lnTo>
                    <a:lnTo>
                      <a:pt x="50" y="1117"/>
                    </a:lnTo>
                    <a:lnTo>
                      <a:pt x="76" y="1108"/>
                    </a:lnTo>
                    <a:lnTo>
                      <a:pt x="78" y="1089"/>
                    </a:lnTo>
                    <a:lnTo>
                      <a:pt x="130" y="1096"/>
                    </a:lnTo>
                    <a:lnTo>
                      <a:pt x="81" y="1112"/>
                    </a:lnTo>
                    <a:lnTo>
                      <a:pt x="77" y="1152"/>
                    </a:lnTo>
                    <a:lnTo>
                      <a:pt x="117" y="1176"/>
                    </a:lnTo>
                    <a:lnTo>
                      <a:pt x="148" y="1211"/>
                    </a:lnTo>
                    <a:lnTo>
                      <a:pt x="185" y="1215"/>
                    </a:lnTo>
                    <a:lnTo>
                      <a:pt x="200" y="1188"/>
                    </a:lnTo>
                    <a:lnTo>
                      <a:pt x="247" y="1155"/>
                    </a:lnTo>
                    <a:lnTo>
                      <a:pt x="247" y="1111"/>
                    </a:lnTo>
                    <a:lnTo>
                      <a:pt x="283" y="1084"/>
                    </a:lnTo>
                    <a:lnTo>
                      <a:pt x="317" y="1042"/>
                    </a:lnTo>
                    <a:lnTo>
                      <a:pt x="410" y="928"/>
                    </a:lnTo>
                    <a:lnTo>
                      <a:pt x="289" y="1087"/>
                    </a:lnTo>
                    <a:lnTo>
                      <a:pt x="303" y="1120"/>
                    </a:lnTo>
                    <a:lnTo>
                      <a:pt x="291" y="1147"/>
                    </a:lnTo>
                    <a:lnTo>
                      <a:pt x="301" y="1167"/>
                    </a:lnTo>
                    <a:lnTo>
                      <a:pt x="247" y="1210"/>
                    </a:lnTo>
                    <a:lnTo>
                      <a:pt x="252" y="1250"/>
                    </a:lnTo>
                    <a:lnTo>
                      <a:pt x="235" y="1244"/>
                    </a:lnTo>
                    <a:lnTo>
                      <a:pt x="238" y="1274"/>
                    </a:lnTo>
                    <a:lnTo>
                      <a:pt x="188" y="1284"/>
                    </a:lnTo>
                    <a:lnTo>
                      <a:pt x="188" y="1321"/>
                    </a:lnTo>
                    <a:lnTo>
                      <a:pt x="226" y="1364"/>
                    </a:lnTo>
                    <a:lnTo>
                      <a:pt x="209" y="1400"/>
                    </a:lnTo>
                    <a:lnTo>
                      <a:pt x="182" y="1440"/>
                    </a:lnTo>
                    <a:lnTo>
                      <a:pt x="160" y="1490"/>
                    </a:lnTo>
                    <a:lnTo>
                      <a:pt x="190" y="1483"/>
                    </a:lnTo>
                    <a:lnTo>
                      <a:pt x="177" y="1547"/>
                    </a:lnTo>
                    <a:lnTo>
                      <a:pt x="155" y="1577"/>
                    </a:lnTo>
                    <a:lnTo>
                      <a:pt x="161" y="1600"/>
                    </a:lnTo>
                    <a:lnTo>
                      <a:pt x="195" y="1589"/>
                    </a:lnTo>
                    <a:lnTo>
                      <a:pt x="195" y="1612"/>
                    </a:lnTo>
                    <a:lnTo>
                      <a:pt x="162" y="1693"/>
                    </a:lnTo>
                    <a:lnTo>
                      <a:pt x="129" y="1760"/>
                    </a:lnTo>
                    <a:lnTo>
                      <a:pt x="110" y="1810"/>
                    </a:lnTo>
                    <a:lnTo>
                      <a:pt x="123" y="1855"/>
                    </a:lnTo>
                    <a:lnTo>
                      <a:pt x="160" y="1855"/>
                    </a:lnTo>
                    <a:lnTo>
                      <a:pt x="194" y="1839"/>
                    </a:lnTo>
                    <a:lnTo>
                      <a:pt x="213" y="1775"/>
                    </a:lnTo>
                    <a:lnTo>
                      <a:pt x="223" y="1722"/>
                    </a:lnTo>
                    <a:lnTo>
                      <a:pt x="242" y="1626"/>
                    </a:lnTo>
                    <a:lnTo>
                      <a:pt x="267" y="1589"/>
                    </a:lnTo>
                    <a:lnTo>
                      <a:pt x="277" y="1539"/>
                    </a:lnTo>
                    <a:lnTo>
                      <a:pt x="254" y="1509"/>
                    </a:lnTo>
                    <a:lnTo>
                      <a:pt x="230" y="1477"/>
                    </a:lnTo>
                    <a:lnTo>
                      <a:pt x="246" y="1430"/>
                    </a:lnTo>
                    <a:lnTo>
                      <a:pt x="259" y="1440"/>
                    </a:lnTo>
                    <a:lnTo>
                      <a:pt x="342" y="1323"/>
                    </a:lnTo>
                    <a:lnTo>
                      <a:pt x="338" y="1353"/>
                    </a:lnTo>
                    <a:lnTo>
                      <a:pt x="286" y="1459"/>
                    </a:lnTo>
                    <a:lnTo>
                      <a:pt x="287" y="1492"/>
                    </a:lnTo>
                    <a:lnTo>
                      <a:pt x="314" y="1519"/>
                    </a:lnTo>
                    <a:lnTo>
                      <a:pt x="327" y="1495"/>
                    </a:lnTo>
                    <a:lnTo>
                      <a:pt x="347" y="1502"/>
                    </a:lnTo>
                    <a:lnTo>
                      <a:pt x="380" y="1492"/>
                    </a:lnTo>
                    <a:lnTo>
                      <a:pt x="386" y="1459"/>
                    </a:lnTo>
                    <a:lnTo>
                      <a:pt x="385" y="1385"/>
                    </a:lnTo>
                    <a:lnTo>
                      <a:pt x="416" y="1471"/>
                    </a:lnTo>
                    <a:lnTo>
                      <a:pt x="497" y="1478"/>
                    </a:lnTo>
                    <a:lnTo>
                      <a:pt x="577" y="1527"/>
                    </a:lnTo>
                    <a:lnTo>
                      <a:pt x="493" y="1488"/>
                    </a:lnTo>
                    <a:lnTo>
                      <a:pt x="460" y="1504"/>
                    </a:lnTo>
                    <a:lnTo>
                      <a:pt x="430" y="1491"/>
                    </a:lnTo>
                    <a:lnTo>
                      <a:pt x="391" y="1565"/>
                    </a:lnTo>
                    <a:lnTo>
                      <a:pt x="391" y="1615"/>
                    </a:lnTo>
                    <a:lnTo>
                      <a:pt x="415" y="1670"/>
                    </a:lnTo>
                    <a:lnTo>
                      <a:pt x="419" y="1697"/>
                    </a:lnTo>
                    <a:lnTo>
                      <a:pt x="459" y="1716"/>
                    </a:lnTo>
                    <a:lnTo>
                      <a:pt x="445" y="1770"/>
                    </a:lnTo>
                    <a:lnTo>
                      <a:pt x="427" y="1790"/>
                    </a:lnTo>
                    <a:lnTo>
                      <a:pt x="377" y="1917"/>
                    </a:lnTo>
                    <a:lnTo>
                      <a:pt x="357" y="1973"/>
                    </a:lnTo>
                    <a:lnTo>
                      <a:pt x="379" y="2046"/>
                    </a:lnTo>
                    <a:lnTo>
                      <a:pt x="369" y="2056"/>
                    </a:lnTo>
                    <a:lnTo>
                      <a:pt x="349" y="2012"/>
                    </a:lnTo>
                    <a:lnTo>
                      <a:pt x="325" y="2007"/>
                    </a:lnTo>
                    <a:lnTo>
                      <a:pt x="302" y="2040"/>
                    </a:lnTo>
                    <a:lnTo>
                      <a:pt x="312" y="2073"/>
                    </a:lnTo>
                    <a:lnTo>
                      <a:pt x="362" y="2106"/>
                    </a:lnTo>
                    <a:lnTo>
                      <a:pt x="386" y="2172"/>
                    </a:lnTo>
                    <a:lnTo>
                      <a:pt x="430" y="2195"/>
                    </a:lnTo>
                    <a:lnTo>
                      <a:pt x="430" y="2172"/>
                    </a:lnTo>
                    <a:lnTo>
                      <a:pt x="400" y="2145"/>
                    </a:lnTo>
                    <a:lnTo>
                      <a:pt x="392" y="2093"/>
                    </a:lnTo>
                    <a:lnTo>
                      <a:pt x="452" y="2071"/>
                    </a:lnTo>
                    <a:lnTo>
                      <a:pt x="489" y="2147"/>
                    </a:lnTo>
                    <a:lnTo>
                      <a:pt x="516" y="2161"/>
                    </a:lnTo>
                    <a:lnTo>
                      <a:pt x="562" y="2164"/>
                    </a:lnTo>
                    <a:lnTo>
                      <a:pt x="589" y="2127"/>
                    </a:lnTo>
                    <a:lnTo>
                      <a:pt x="556" y="2067"/>
                    </a:lnTo>
                    <a:lnTo>
                      <a:pt x="575" y="2044"/>
                    </a:lnTo>
                    <a:lnTo>
                      <a:pt x="583" y="2070"/>
                    </a:lnTo>
                    <a:lnTo>
                      <a:pt x="616" y="2107"/>
                    </a:lnTo>
                    <a:lnTo>
                      <a:pt x="682" y="2086"/>
                    </a:lnTo>
                    <a:lnTo>
                      <a:pt x="712" y="2049"/>
                    </a:lnTo>
                    <a:lnTo>
                      <a:pt x="722" y="2066"/>
                    </a:lnTo>
                    <a:lnTo>
                      <a:pt x="785" y="2063"/>
                    </a:lnTo>
                    <a:lnTo>
                      <a:pt x="811" y="2019"/>
                    </a:lnTo>
                    <a:lnTo>
                      <a:pt x="831" y="1972"/>
                    </a:lnTo>
                    <a:lnTo>
                      <a:pt x="848" y="1998"/>
                    </a:lnTo>
                    <a:lnTo>
                      <a:pt x="898" y="2008"/>
                    </a:lnTo>
                    <a:lnTo>
                      <a:pt x="935" y="2015"/>
                    </a:lnTo>
                    <a:lnTo>
                      <a:pt x="961" y="2030"/>
                    </a:lnTo>
                    <a:lnTo>
                      <a:pt x="991" y="2020"/>
                    </a:lnTo>
                    <a:lnTo>
                      <a:pt x="965" y="2044"/>
                    </a:lnTo>
                    <a:lnTo>
                      <a:pt x="901" y="2038"/>
                    </a:lnTo>
                    <a:lnTo>
                      <a:pt x="866" y="2065"/>
                    </a:lnTo>
                    <a:lnTo>
                      <a:pt x="845" y="2108"/>
                    </a:lnTo>
                    <a:lnTo>
                      <a:pt x="817" y="2152"/>
                    </a:lnTo>
                    <a:lnTo>
                      <a:pt x="790" y="2244"/>
                    </a:lnTo>
                    <a:lnTo>
                      <a:pt x="818" y="2348"/>
                    </a:lnTo>
                    <a:lnTo>
                      <a:pt x="838" y="2387"/>
                    </a:lnTo>
                    <a:lnTo>
                      <a:pt x="871" y="2400"/>
                    </a:lnTo>
                    <a:lnTo>
                      <a:pt x="905" y="2373"/>
                    </a:lnTo>
                    <a:lnTo>
                      <a:pt x="898" y="2409"/>
                    </a:lnTo>
                    <a:lnTo>
                      <a:pt x="926" y="2463"/>
                    </a:lnTo>
                    <a:lnTo>
                      <a:pt x="939" y="2443"/>
                    </a:lnTo>
                    <a:lnTo>
                      <a:pt x="961" y="2412"/>
                    </a:lnTo>
                    <a:lnTo>
                      <a:pt x="965" y="2429"/>
                    </a:lnTo>
                    <a:lnTo>
                      <a:pt x="995" y="2412"/>
                    </a:lnTo>
                    <a:lnTo>
                      <a:pt x="1012" y="2382"/>
                    </a:lnTo>
                    <a:lnTo>
                      <a:pt x="1028" y="2405"/>
                    </a:lnTo>
                    <a:lnTo>
                      <a:pt x="988" y="2439"/>
                    </a:lnTo>
                    <a:lnTo>
                      <a:pt x="999" y="2465"/>
                    </a:lnTo>
                    <a:lnTo>
                      <a:pt x="1039" y="2515"/>
                    </a:lnTo>
                    <a:lnTo>
                      <a:pt x="1033" y="2538"/>
                    </a:lnTo>
                    <a:lnTo>
                      <a:pt x="1003" y="2542"/>
                    </a:lnTo>
                    <a:lnTo>
                      <a:pt x="974" y="2568"/>
                    </a:lnTo>
                    <a:lnTo>
                      <a:pt x="980" y="2631"/>
                    </a:lnTo>
                    <a:lnTo>
                      <a:pt x="1024" y="2634"/>
                    </a:lnTo>
                    <a:lnTo>
                      <a:pt x="987" y="2648"/>
                    </a:lnTo>
                    <a:lnTo>
                      <a:pt x="961" y="2711"/>
                    </a:lnTo>
                    <a:lnTo>
                      <a:pt x="968" y="2771"/>
                    </a:lnTo>
                    <a:lnTo>
                      <a:pt x="999" y="2817"/>
                    </a:lnTo>
                    <a:lnTo>
                      <a:pt x="1046" y="2842"/>
                    </a:lnTo>
                    <a:lnTo>
                      <a:pt x="1019" y="2860"/>
                    </a:lnTo>
                    <a:lnTo>
                      <a:pt x="979" y="2840"/>
                    </a:lnTo>
                    <a:lnTo>
                      <a:pt x="968" y="2787"/>
                    </a:lnTo>
                    <a:lnTo>
                      <a:pt x="922" y="2825"/>
                    </a:lnTo>
                    <a:lnTo>
                      <a:pt x="909" y="2848"/>
                    </a:lnTo>
                    <a:lnTo>
                      <a:pt x="976" y="2887"/>
                    </a:lnTo>
                    <a:lnTo>
                      <a:pt x="899" y="2871"/>
                    </a:lnTo>
                    <a:lnTo>
                      <a:pt x="869" y="2855"/>
                    </a:lnTo>
                    <a:lnTo>
                      <a:pt x="827" y="2885"/>
                    </a:lnTo>
                    <a:lnTo>
                      <a:pt x="773" y="2869"/>
                    </a:lnTo>
                    <a:lnTo>
                      <a:pt x="726" y="2849"/>
                    </a:lnTo>
                    <a:lnTo>
                      <a:pt x="629" y="2904"/>
                    </a:lnTo>
                    <a:lnTo>
                      <a:pt x="594" y="2931"/>
                    </a:lnTo>
                    <a:lnTo>
                      <a:pt x="597" y="2983"/>
                    </a:lnTo>
                    <a:lnTo>
                      <a:pt x="557" y="3023"/>
                    </a:lnTo>
                    <a:lnTo>
                      <a:pt x="521" y="3041"/>
                    </a:lnTo>
                    <a:lnTo>
                      <a:pt x="488" y="3047"/>
                    </a:lnTo>
                    <a:lnTo>
                      <a:pt x="409" y="3134"/>
                    </a:lnTo>
                    <a:lnTo>
                      <a:pt x="425" y="3148"/>
                    </a:lnTo>
                    <a:lnTo>
                      <a:pt x="464" y="3114"/>
                    </a:lnTo>
                    <a:lnTo>
                      <a:pt x="508" y="3133"/>
                    </a:lnTo>
                    <a:lnTo>
                      <a:pt x="528" y="3120"/>
                    </a:lnTo>
                    <a:lnTo>
                      <a:pt x="538" y="3086"/>
                    </a:lnTo>
                    <a:lnTo>
                      <a:pt x="538" y="3086"/>
                    </a:lnTo>
                    <a:lnTo>
                      <a:pt x="608" y="3073"/>
                    </a:lnTo>
                    <a:lnTo>
                      <a:pt x="640" y="3055"/>
                    </a:lnTo>
                    <a:lnTo>
                      <a:pt x="632" y="3085"/>
                    </a:lnTo>
                    <a:lnTo>
                      <a:pt x="638" y="3129"/>
                    </a:lnTo>
                    <a:lnTo>
                      <a:pt x="668" y="3152"/>
                    </a:lnTo>
                    <a:lnTo>
                      <a:pt x="659" y="3215"/>
                    </a:lnTo>
                    <a:lnTo>
                      <a:pt x="700" y="3218"/>
                    </a:lnTo>
                    <a:lnTo>
                      <a:pt x="654" y="3318"/>
                    </a:lnTo>
                    <a:lnTo>
                      <a:pt x="614" y="3388"/>
                    </a:lnTo>
                    <a:lnTo>
                      <a:pt x="545" y="3422"/>
                    </a:lnTo>
                    <a:lnTo>
                      <a:pt x="484" y="3465"/>
                    </a:lnTo>
                    <a:lnTo>
                      <a:pt x="435" y="3505"/>
                    </a:lnTo>
                    <a:lnTo>
                      <a:pt x="365" y="3510"/>
                    </a:lnTo>
                    <a:lnTo>
                      <a:pt x="328" y="3540"/>
                    </a:lnTo>
                    <a:lnTo>
                      <a:pt x="313" y="3563"/>
                    </a:lnTo>
                    <a:lnTo>
                      <a:pt x="279" y="3560"/>
                    </a:lnTo>
                    <a:lnTo>
                      <a:pt x="283" y="3570"/>
                    </a:lnTo>
                    <a:lnTo>
                      <a:pt x="343" y="3580"/>
                    </a:lnTo>
                    <a:lnTo>
                      <a:pt x="310" y="3613"/>
                    </a:lnTo>
                    <a:lnTo>
                      <a:pt x="310" y="3639"/>
                    </a:lnTo>
                    <a:lnTo>
                      <a:pt x="353" y="3659"/>
                    </a:lnTo>
                    <a:lnTo>
                      <a:pt x="371" y="3706"/>
                    </a:lnTo>
                    <a:lnTo>
                      <a:pt x="420" y="3705"/>
                    </a:lnTo>
                    <a:lnTo>
                      <a:pt x="440" y="3671"/>
                    </a:lnTo>
                    <a:lnTo>
                      <a:pt x="507" y="3648"/>
                    </a:lnTo>
                    <a:lnTo>
                      <a:pt x="556" y="3605"/>
                    </a:lnTo>
                    <a:lnTo>
                      <a:pt x="556" y="3637"/>
                    </a:lnTo>
                    <a:lnTo>
                      <a:pt x="649" y="3640"/>
                    </a:lnTo>
                    <a:lnTo>
                      <a:pt x="554" y="3697"/>
                    </a:lnTo>
                    <a:lnTo>
                      <a:pt x="600" y="3717"/>
                    </a:lnTo>
                    <a:lnTo>
                      <a:pt x="677" y="3719"/>
                    </a:lnTo>
                    <a:lnTo>
                      <a:pt x="726" y="3676"/>
                    </a:lnTo>
                    <a:lnTo>
                      <a:pt x="781" y="3732"/>
                    </a:lnTo>
                    <a:lnTo>
                      <a:pt x="844" y="3801"/>
                    </a:lnTo>
                    <a:lnTo>
                      <a:pt x="921" y="3784"/>
                    </a:lnTo>
                    <a:lnTo>
                      <a:pt x="977" y="3726"/>
                    </a:lnTo>
                    <a:lnTo>
                      <a:pt x="1027" y="3719"/>
                    </a:lnTo>
                    <a:lnTo>
                      <a:pt x="1069" y="3673"/>
                    </a:lnTo>
                    <a:lnTo>
                      <a:pt x="1110" y="3652"/>
                    </a:lnTo>
                    <a:lnTo>
                      <a:pt x="1172" y="3602"/>
                    </a:lnTo>
                    <a:lnTo>
                      <a:pt x="1199" y="3569"/>
                    </a:lnTo>
                    <a:lnTo>
                      <a:pt x="1192" y="3598"/>
                    </a:lnTo>
                    <a:lnTo>
                      <a:pt x="1110" y="3679"/>
                    </a:lnTo>
                    <a:lnTo>
                      <a:pt x="1094" y="3738"/>
                    </a:lnTo>
                    <a:lnTo>
                      <a:pt x="995" y="3800"/>
                    </a:lnTo>
                    <a:lnTo>
                      <a:pt x="975" y="3889"/>
                    </a:lnTo>
                    <a:lnTo>
                      <a:pt x="909" y="3896"/>
                    </a:lnTo>
                    <a:lnTo>
                      <a:pt x="755" y="3871"/>
                    </a:lnTo>
                    <a:lnTo>
                      <a:pt x="622" y="3892"/>
                    </a:lnTo>
                    <a:lnTo>
                      <a:pt x="609" y="3935"/>
                    </a:lnTo>
                    <a:lnTo>
                      <a:pt x="619" y="3956"/>
                    </a:lnTo>
                    <a:lnTo>
                      <a:pt x="669" y="3942"/>
                    </a:lnTo>
                    <a:lnTo>
                      <a:pt x="616" y="3986"/>
                    </a:lnTo>
                    <a:lnTo>
                      <a:pt x="576" y="3962"/>
                    </a:lnTo>
                    <a:lnTo>
                      <a:pt x="542" y="3966"/>
                    </a:lnTo>
                    <a:lnTo>
                      <a:pt x="515" y="4129"/>
                    </a:lnTo>
                    <a:lnTo>
                      <a:pt x="421" y="4163"/>
                    </a:lnTo>
                    <a:lnTo>
                      <a:pt x="342" y="4300"/>
                    </a:lnTo>
                    <a:lnTo>
                      <a:pt x="236" y="4361"/>
                    </a:lnTo>
                    <a:lnTo>
                      <a:pt x="223" y="4383"/>
                    </a:lnTo>
                    <a:lnTo>
                      <a:pt x="184" y="4381"/>
                    </a:lnTo>
                    <a:lnTo>
                      <a:pt x="170" y="4425"/>
                    </a:lnTo>
                    <a:lnTo>
                      <a:pt x="214" y="4460"/>
                    </a:lnTo>
                    <a:lnTo>
                      <a:pt x="217" y="4423"/>
                    </a:lnTo>
                    <a:lnTo>
                      <a:pt x="264" y="4407"/>
                    </a:lnTo>
                    <a:lnTo>
                      <a:pt x="331" y="4446"/>
                    </a:lnTo>
                    <a:lnTo>
                      <a:pt x="371" y="4462"/>
                    </a:lnTo>
                    <a:lnTo>
                      <a:pt x="380" y="4436"/>
                    </a:lnTo>
                    <a:lnTo>
                      <a:pt x="363" y="4389"/>
                    </a:lnTo>
                    <a:lnTo>
                      <a:pt x="455" y="4332"/>
                    </a:lnTo>
                    <a:lnTo>
                      <a:pt x="479" y="4282"/>
                    </a:lnTo>
                    <a:lnTo>
                      <a:pt x="556" y="4274"/>
                    </a:lnTo>
                    <a:lnTo>
                      <a:pt x="646" y="4304"/>
                    </a:lnTo>
                    <a:lnTo>
                      <a:pt x="723" y="4313"/>
                    </a:lnTo>
                    <a:lnTo>
                      <a:pt x="773" y="4335"/>
                    </a:lnTo>
                    <a:lnTo>
                      <a:pt x="819" y="4325"/>
                    </a:lnTo>
                    <a:lnTo>
                      <a:pt x="814" y="4216"/>
                    </a:lnTo>
                    <a:lnTo>
                      <a:pt x="848" y="4139"/>
                    </a:lnTo>
                    <a:lnTo>
                      <a:pt x="861" y="4169"/>
                    </a:lnTo>
                    <a:lnTo>
                      <a:pt x="898" y="4175"/>
                    </a:lnTo>
                    <a:lnTo>
                      <a:pt x="974" y="4118"/>
                    </a:lnTo>
                    <a:lnTo>
                      <a:pt x="1101" y="4127"/>
                    </a:lnTo>
                    <a:lnTo>
                      <a:pt x="1147" y="4200"/>
                    </a:lnTo>
                    <a:lnTo>
                      <a:pt x="1211" y="4176"/>
                    </a:lnTo>
                    <a:lnTo>
                      <a:pt x="1271" y="4185"/>
                    </a:lnTo>
                    <a:lnTo>
                      <a:pt x="1284" y="4198"/>
                    </a:lnTo>
                    <a:lnTo>
                      <a:pt x="1321" y="4152"/>
                    </a:lnTo>
                    <a:lnTo>
                      <a:pt x="1280" y="4125"/>
                    </a:lnTo>
                    <a:lnTo>
                      <a:pt x="1297" y="4098"/>
                    </a:lnTo>
                    <a:lnTo>
                      <a:pt x="1347" y="4118"/>
                    </a:lnTo>
                    <a:lnTo>
                      <a:pt x="1397" y="4125"/>
                    </a:lnTo>
                    <a:lnTo>
                      <a:pt x="1410" y="4108"/>
                    </a:lnTo>
                    <a:lnTo>
                      <a:pt x="1461" y="4074"/>
                    </a:lnTo>
                    <a:lnTo>
                      <a:pt x="1469" y="4054"/>
                    </a:lnTo>
                    <a:lnTo>
                      <a:pt x="1456" y="4035"/>
                    </a:lnTo>
                    <a:lnTo>
                      <a:pt x="1429" y="4011"/>
                    </a:lnTo>
                    <a:lnTo>
                      <a:pt x="1476" y="4011"/>
                    </a:lnTo>
                    <a:lnTo>
                      <a:pt x="1520" y="4067"/>
                    </a:lnTo>
                    <a:lnTo>
                      <a:pt x="1546" y="4080"/>
                    </a:lnTo>
                    <a:lnTo>
                      <a:pt x="1570" y="4050"/>
                    </a:lnTo>
                    <a:lnTo>
                      <a:pt x="1583" y="4059"/>
                    </a:lnTo>
                    <a:lnTo>
                      <a:pt x="1617" y="4062"/>
                    </a:lnTo>
                    <a:lnTo>
                      <a:pt x="1630" y="4096"/>
                    </a:lnTo>
                    <a:lnTo>
                      <a:pt x="1687" y="4118"/>
                    </a:lnTo>
                    <a:lnTo>
                      <a:pt x="1717" y="4068"/>
                    </a:lnTo>
                    <a:lnTo>
                      <a:pt x="1873" y="4070"/>
                    </a:lnTo>
                    <a:lnTo>
                      <a:pt x="1911" y="4096"/>
                    </a:lnTo>
                    <a:lnTo>
                      <a:pt x="2080" y="4035"/>
                    </a:lnTo>
                    <a:lnTo>
                      <a:pt x="2173" y="4018"/>
                    </a:lnTo>
                    <a:lnTo>
                      <a:pt x="2189" y="3954"/>
                    </a:lnTo>
                    <a:lnTo>
                      <a:pt x="2292" y="3927"/>
                    </a:lnTo>
                    <a:lnTo>
                      <a:pt x="2315" y="3900"/>
                    </a:lnTo>
                    <a:lnTo>
                      <a:pt x="2304" y="3831"/>
                    </a:lnTo>
                    <a:lnTo>
                      <a:pt x="2324" y="3801"/>
                    </a:lnTo>
                    <a:lnTo>
                      <a:pt x="2294" y="3797"/>
                    </a:lnTo>
                    <a:lnTo>
                      <a:pt x="2227" y="3818"/>
                    </a:lnTo>
                    <a:lnTo>
                      <a:pt x="2192" y="3835"/>
                    </a:lnTo>
                    <a:lnTo>
                      <a:pt x="2125" y="3825"/>
                    </a:lnTo>
                    <a:lnTo>
                      <a:pt x="2091" y="3796"/>
                    </a:lnTo>
                    <a:lnTo>
                      <a:pt x="2058" y="3833"/>
                    </a:lnTo>
                    <a:lnTo>
                      <a:pt x="2041" y="3816"/>
                    </a:lnTo>
                    <a:lnTo>
                      <a:pt x="2080" y="3779"/>
                    </a:lnTo>
                    <a:lnTo>
                      <a:pt x="2037" y="3747"/>
                    </a:lnTo>
                    <a:lnTo>
                      <a:pt x="2087" y="3766"/>
                    </a:lnTo>
                    <a:lnTo>
                      <a:pt x="2114" y="3743"/>
                    </a:lnTo>
                    <a:lnTo>
                      <a:pt x="2127" y="3696"/>
                    </a:lnTo>
                    <a:lnTo>
                      <a:pt x="2153" y="3669"/>
                    </a:lnTo>
                    <a:lnTo>
                      <a:pt x="2156" y="3642"/>
                    </a:lnTo>
                    <a:lnTo>
                      <a:pt x="2106" y="3613"/>
                    </a:lnTo>
                    <a:lnTo>
                      <a:pt x="2126" y="3603"/>
                    </a:lnTo>
                    <a:lnTo>
                      <a:pt x="2166" y="3607"/>
                    </a:lnTo>
                    <a:lnTo>
                      <a:pt x="2183" y="3580"/>
                    </a:lnTo>
                    <a:lnTo>
                      <a:pt x="2203" y="3592"/>
                    </a:lnTo>
                    <a:lnTo>
                      <a:pt x="2238" y="3596"/>
                    </a:lnTo>
                    <a:lnTo>
                      <a:pt x="2275" y="3586"/>
                    </a:lnTo>
                    <a:lnTo>
                      <a:pt x="2285" y="3552"/>
                    </a:lnTo>
                    <a:lnTo>
                      <a:pt x="2265" y="3535"/>
                    </a:lnTo>
                    <a:lnTo>
                      <a:pt x="2265" y="3492"/>
                    </a:lnTo>
                    <a:lnTo>
                      <a:pt x="2301" y="3472"/>
                    </a:lnTo>
                    <a:lnTo>
                      <a:pt x="2341" y="3479"/>
                    </a:lnTo>
                    <a:lnTo>
                      <a:pt x="2390" y="3395"/>
                    </a:lnTo>
                    <a:lnTo>
                      <a:pt x="2410" y="3315"/>
                    </a:lnTo>
                    <a:lnTo>
                      <a:pt x="2422" y="3242"/>
                    </a:lnTo>
                    <a:lnTo>
                      <a:pt x="2351" y="311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5" name="Freeform 170">
                <a:extLst>
                  <a:ext uri="{FF2B5EF4-FFF2-40B4-BE49-F238E27FC236}">
                    <a16:creationId xmlns:a16="http://schemas.microsoft.com/office/drawing/2014/main" id="{A7E07066-D992-4377-8168-4A9F598D9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2513" y="3806825"/>
                <a:ext cx="53975" cy="44450"/>
              </a:xfrm>
              <a:custGeom>
                <a:avLst/>
                <a:gdLst>
                  <a:gd name="T0" fmla="*/ 11 w 167"/>
                  <a:gd name="T1" fmla="*/ 111 h 140"/>
                  <a:gd name="T2" fmla="*/ 98 w 167"/>
                  <a:gd name="T3" fmla="*/ 140 h 140"/>
                  <a:gd name="T4" fmla="*/ 121 w 167"/>
                  <a:gd name="T5" fmla="*/ 123 h 140"/>
                  <a:gd name="T6" fmla="*/ 137 w 167"/>
                  <a:gd name="T7" fmla="*/ 86 h 140"/>
                  <a:gd name="T8" fmla="*/ 167 w 167"/>
                  <a:gd name="T9" fmla="*/ 46 h 140"/>
                  <a:gd name="T10" fmla="*/ 137 w 167"/>
                  <a:gd name="T11" fmla="*/ 49 h 140"/>
                  <a:gd name="T12" fmla="*/ 107 w 167"/>
                  <a:gd name="T13" fmla="*/ 27 h 140"/>
                  <a:gd name="T14" fmla="*/ 84 w 167"/>
                  <a:gd name="T15" fmla="*/ 0 h 140"/>
                  <a:gd name="T16" fmla="*/ 4 w 167"/>
                  <a:gd name="T17" fmla="*/ 11 h 140"/>
                  <a:gd name="T18" fmla="*/ 10 w 167"/>
                  <a:gd name="T19" fmla="*/ 54 h 140"/>
                  <a:gd name="T20" fmla="*/ 20 w 167"/>
                  <a:gd name="T21" fmla="*/ 64 h 140"/>
                  <a:gd name="T22" fmla="*/ 0 w 167"/>
                  <a:gd name="T23" fmla="*/ 71 h 140"/>
                  <a:gd name="T24" fmla="*/ 11 w 167"/>
                  <a:gd name="T25" fmla="*/ 11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7" h="140">
                    <a:moveTo>
                      <a:pt x="11" y="111"/>
                    </a:moveTo>
                    <a:lnTo>
                      <a:pt x="98" y="140"/>
                    </a:lnTo>
                    <a:lnTo>
                      <a:pt x="121" y="123"/>
                    </a:lnTo>
                    <a:lnTo>
                      <a:pt x="137" y="86"/>
                    </a:lnTo>
                    <a:lnTo>
                      <a:pt x="167" y="46"/>
                    </a:lnTo>
                    <a:lnTo>
                      <a:pt x="137" y="49"/>
                    </a:lnTo>
                    <a:lnTo>
                      <a:pt x="107" y="27"/>
                    </a:lnTo>
                    <a:lnTo>
                      <a:pt x="84" y="0"/>
                    </a:lnTo>
                    <a:lnTo>
                      <a:pt x="4" y="11"/>
                    </a:lnTo>
                    <a:lnTo>
                      <a:pt x="10" y="54"/>
                    </a:lnTo>
                    <a:lnTo>
                      <a:pt x="20" y="64"/>
                    </a:lnTo>
                    <a:lnTo>
                      <a:pt x="0" y="71"/>
                    </a:lnTo>
                    <a:lnTo>
                      <a:pt x="11" y="11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6" name="Freeform 172">
                <a:extLst>
                  <a:ext uri="{FF2B5EF4-FFF2-40B4-BE49-F238E27FC236}">
                    <a16:creationId xmlns:a16="http://schemas.microsoft.com/office/drawing/2014/main" id="{34D3FEA1-EAAD-44C7-B73D-2155C9D99F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663" y="3440113"/>
                <a:ext cx="25400" cy="42863"/>
              </a:xfrm>
              <a:custGeom>
                <a:avLst/>
                <a:gdLst>
                  <a:gd name="T0" fmla="*/ 72 w 84"/>
                  <a:gd name="T1" fmla="*/ 123 h 133"/>
                  <a:gd name="T2" fmla="*/ 84 w 84"/>
                  <a:gd name="T3" fmla="*/ 83 h 133"/>
                  <a:gd name="T4" fmla="*/ 64 w 84"/>
                  <a:gd name="T5" fmla="*/ 30 h 133"/>
                  <a:gd name="T6" fmla="*/ 54 w 84"/>
                  <a:gd name="T7" fmla="*/ 0 h 133"/>
                  <a:gd name="T8" fmla="*/ 27 w 84"/>
                  <a:gd name="T9" fmla="*/ 0 h 133"/>
                  <a:gd name="T10" fmla="*/ 7 w 84"/>
                  <a:gd name="T11" fmla="*/ 30 h 133"/>
                  <a:gd name="T12" fmla="*/ 0 w 84"/>
                  <a:gd name="T13" fmla="*/ 70 h 133"/>
                  <a:gd name="T14" fmla="*/ 15 w 84"/>
                  <a:gd name="T15" fmla="*/ 110 h 133"/>
                  <a:gd name="T16" fmla="*/ 55 w 84"/>
                  <a:gd name="T17" fmla="*/ 133 h 133"/>
                  <a:gd name="T18" fmla="*/ 72 w 84"/>
                  <a:gd name="T19" fmla="*/ 12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133">
                    <a:moveTo>
                      <a:pt x="72" y="123"/>
                    </a:moveTo>
                    <a:lnTo>
                      <a:pt x="84" y="83"/>
                    </a:lnTo>
                    <a:lnTo>
                      <a:pt x="64" y="30"/>
                    </a:lnTo>
                    <a:lnTo>
                      <a:pt x="54" y="0"/>
                    </a:lnTo>
                    <a:lnTo>
                      <a:pt x="27" y="0"/>
                    </a:lnTo>
                    <a:lnTo>
                      <a:pt x="7" y="30"/>
                    </a:lnTo>
                    <a:lnTo>
                      <a:pt x="0" y="70"/>
                    </a:lnTo>
                    <a:lnTo>
                      <a:pt x="15" y="110"/>
                    </a:lnTo>
                    <a:lnTo>
                      <a:pt x="55" y="133"/>
                    </a:lnTo>
                    <a:lnTo>
                      <a:pt x="72" y="12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7" name="Freeform 173">
                <a:extLst>
                  <a:ext uri="{FF2B5EF4-FFF2-40B4-BE49-F238E27FC236}">
                    <a16:creationId xmlns:a16="http://schemas.microsoft.com/office/drawing/2014/main" id="{7C3105A4-9D22-4F0A-BE85-005AD56B0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3763" y="3232150"/>
                <a:ext cx="6350" cy="6350"/>
              </a:xfrm>
              <a:custGeom>
                <a:avLst/>
                <a:gdLst>
                  <a:gd name="T0" fmla="*/ 0 w 20"/>
                  <a:gd name="T1" fmla="*/ 13 h 20"/>
                  <a:gd name="T2" fmla="*/ 20 w 20"/>
                  <a:gd name="T3" fmla="*/ 20 h 20"/>
                  <a:gd name="T4" fmla="*/ 16 w 20"/>
                  <a:gd name="T5" fmla="*/ 0 h 20"/>
                  <a:gd name="T6" fmla="*/ 0 w 20"/>
                  <a:gd name="T7" fmla="*/ 1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13"/>
                    </a:moveTo>
                    <a:lnTo>
                      <a:pt x="20" y="20"/>
                    </a:lnTo>
                    <a:lnTo>
                      <a:pt x="16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8" name="Freeform 174">
                <a:extLst>
                  <a:ext uri="{FF2B5EF4-FFF2-40B4-BE49-F238E27FC236}">
                    <a16:creationId xmlns:a16="http://schemas.microsoft.com/office/drawing/2014/main" id="{5E68D27A-8714-4B15-9F87-E419197E4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6300" y="3211513"/>
                <a:ext cx="17463" cy="17463"/>
              </a:xfrm>
              <a:custGeom>
                <a:avLst/>
                <a:gdLst>
                  <a:gd name="T0" fmla="*/ 54 w 54"/>
                  <a:gd name="T1" fmla="*/ 43 h 56"/>
                  <a:gd name="T2" fmla="*/ 54 w 54"/>
                  <a:gd name="T3" fmla="*/ 23 h 56"/>
                  <a:gd name="T4" fmla="*/ 34 w 54"/>
                  <a:gd name="T5" fmla="*/ 0 h 56"/>
                  <a:gd name="T6" fmla="*/ 0 w 54"/>
                  <a:gd name="T7" fmla="*/ 7 h 56"/>
                  <a:gd name="T8" fmla="*/ 3 w 54"/>
                  <a:gd name="T9" fmla="*/ 37 h 56"/>
                  <a:gd name="T10" fmla="*/ 30 w 54"/>
                  <a:gd name="T11" fmla="*/ 56 h 56"/>
                  <a:gd name="T12" fmla="*/ 54 w 54"/>
                  <a:gd name="T13" fmla="*/ 4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56">
                    <a:moveTo>
                      <a:pt x="54" y="43"/>
                    </a:moveTo>
                    <a:lnTo>
                      <a:pt x="54" y="23"/>
                    </a:lnTo>
                    <a:lnTo>
                      <a:pt x="34" y="0"/>
                    </a:lnTo>
                    <a:lnTo>
                      <a:pt x="0" y="7"/>
                    </a:lnTo>
                    <a:lnTo>
                      <a:pt x="3" y="37"/>
                    </a:lnTo>
                    <a:lnTo>
                      <a:pt x="30" y="56"/>
                    </a:lnTo>
                    <a:lnTo>
                      <a:pt x="54" y="4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9" name="Freeform 175">
                <a:extLst>
                  <a:ext uri="{FF2B5EF4-FFF2-40B4-BE49-F238E27FC236}">
                    <a16:creationId xmlns:a16="http://schemas.microsoft.com/office/drawing/2014/main" id="{BFFEFF62-A2F6-4602-9608-C4FE98D9A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225" y="3365500"/>
                <a:ext cx="36513" cy="55563"/>
              </a:xfrm>
              <a:custGeom>
                <a:avLst/>
                <a:gdLst>
                  <a:gd name="T0" fmla="*/ 77 w 119"/>
                  <a:gd name="T1" fmla="*/ 129 h 173"/>
                  <a:gd name="T2" fmla="*/ 84 w 119"/>
                  <a:gd name="T3" fmla="*/ 84 h 173"/>
                  <a:gd name="T4" fmla="*/ 119 w 119"/>
                  <a:gd name="T5" fmla="*/ 24 h 173"/>
                  <a:gd name="T6" fmla="*/ 116 w 119"/>
                  <a:gd name="T7" fmla="*/ 0 h 173"/>
                  <a:gd name="T8" fmla="*/ 80 w 119"/>
                  <a:gd name="T9" fmla="*/ 34 h 173"/>
                  <a:gd name="T10" fmla="*/ 37 w 119"/>
                  <a:gd name="T11" fmla="*/ 84 h 173"/>
                  <a:gd name="T12" fmla="*/ 54 w 119"/>
                  <a:gd name="T13" fmla="*/ 87 h 173"/>
                  <a:gd name="T14" fmla="*/ 0 w 119"/>
                  <a:gd name="T15" fmla="*/ 126 h 173"/>
                  <a:gd name="T16" fmla="*/ 17 w 119"/>
                  <a:gd name="T17" fmla="*/ 152 h 173"/>
                  <a:gd name="T18" fmla="*/ 15 w 119"/>
                  <a:gd name="T19" fmla="*/ 161 h 173"/>
                  <a:gd name="T20" fmla="*/ 38 w 119"/>
                  <a:gd name="T21" fmla="*/ 173 h 173"/>
                  <a:gd name="T22" fmla="*/ 77 w 119"/>
                  <a:gd name="T23" fmla="*/ 12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173">
                    <a:moveTo>
                      <a:pt x="77" y="129"/>
                    </a:moveTo>
                    <a:lnTo>
                      <a:pt x="84" y="84"/>
                    </a:lnTo>
                    <a:lnTo>
                      <a:pt x="119" y="24"/>
                    </a:lnTo>
                    <a:lnTo>
                      <a:pt x="116" y="0"/>
                    </a:lnTo>
                    <a:lnTo>
                      <a:pt x="80" y="34"/>
                    </a:lnTo>
                    <a:lnTo>
                      <a:pt x="37" y="84"/>
                    </a:lnTo>
                    <a:lnTo>
                      <a:pt x="54" y="87"/>
                    </a:lnTo>
                    <a:lnTo>
                      <a:pt x="0" y="126"/>
                    </a:lnTo>
                    <a:lnTo>
                      <a:pt x="17" y="152"/>
                    </a:lnTo>
                    <a:lnTo>
                      <a:pt x="15" y="161"/>
                    </a:lnTo>
                    <a:lnTo>
                      <a:pt x="38" y="173"/>
                    </a:lnTo>
                    <a:lnTo>
                      <a:pt x="77" y="12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0" name="Freeform 176">
                <a:extLst>
                  <a:ext uri="{FF2B5EF4-FFF2-40B4-BE49-F238E27FC236}">
                    <a16:creationId xmlns:a16="http://schemas.microsoft.com/office/drawing/2014/main" id="{EB07EFAA-5140-4057-B86A-BF8540BF5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9463" y="3213100"/>
                <a:ext cx="11113" cy="19050"/>
              </a:xfrm>
              <a:custGeom>
                <a:avLst/>
                <a:gdLst>
                  <a:gd name="T0" fmla="*/ 0 w 33"/>
                  <a:gd name="T1" fmla="*/ 60 h 60"/>
                  <a:gd name="T2" fmla="*/ 33 w 33"/>
                  <a:gd name="T3" fmla="*/ 16 h 60"/>
                  <a:gd name="T4" fmla="*/ 10 w 33"/>
                  <a:gd name="T5" fmla="*/ 0 h 60"/>
                  <a:gd name="T6" fmla="*/ 0 w 33"/>
                  <a:gd name="T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60">
                    <a:moveTo>
                      <a:pt x="0" y="60"/>
                    </a:moveTo>
                    <a:lnTo>
                      <a:pt x="33" y="16"/>
                    </a:lnTo>
                    <a:lnTo>
                      <a:pt x="10" y="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1" name="Freeform 177">
                <a:extLst>
                  <a:ext uri="{FF2B5EF4-FFF2-40B4-BE49-F238E27FC236}">
                    <a16:creationId xmlns:a16="http://schemas.microsoft.com/office/drawing/2014/main" id="{2FC59916-2991-44D1-8390-DC37BD3C0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9788" y="3295650"/>
                <a:ext cx="14288" cy="12700"/>
              </a:xfrm>
              <a:custGeom>
                <a:avLst/>
                <a:gdLst>
                  <a:gd name="T0" fmla="*/ 0 w 43"/>
                  <a:gd name="T1" fmla="*/ 30 h 40"/>
                  <a:gd name="T2" fmla="*/ 17 w 43"/>
                  <a:gd name="T3" fmla="*/ 40 h 40"/>
                  <a:gd name="T4" fmla="*/ 29 w 43"/>
                  <a:gd name="T5" fmla="*/ 23 h 40"/>
                  <a:gd name="T6" fmla="*/ 43 w 43"/>
                  <a:gd name="T7" fmla="*/ 0 h 40"/>
                  <a:gd name="T8" fmla="*/ 19 w 43"/>
                  <a:gd name="T9" fmla="*/ 3 h 40"/>
                  <a:gd name="T10" fmla="*/ 0 w 43"/>
                  <a:gd name="T11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40">
                    <a:moveTo>
                      <a:pt x="0" y="30"/>
                    </a:moveTo>
                    <a:lnTo>
                      <a:pt x="17" y="40"/>
                    </a:lnTo>
                    <a:lnTo>
                      <a:pt x="29" y="23"/>
                    </a:lnTo>
                    <a:lnTo>
                      <a:pt x="43" y="0"/>
                    </a:lnTo>
                    <a:lnTo>
                      <a:pt x="19" y="3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2" name="Freeform 178">
                <a:extLst>
                  <a:ext uri="{FF2B5EF4-FFF2-40B4-BE49-F238E27FC236}">
                    <a16:creationId xmlns:a16="http://schemas.microsoft.com/office/drawing/2014/main" id="{B097B541-D345-417C-B74F-14C2C8A044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4875" y="3371850"/>
                <a:ext cx="12700" cy="14288"/>
              </a:xfrm>
              <a:custGeom>
                <a:avLst/>
                <a:gdLst>
                  <a:gd name="T0" fmla="*/ 41 w 41"/>
                  <a:gd name="T1" fmla="*/ 0 h 47"/>
                  <a:gd name="T2" fmla="*/ 11 w 41"/>
                  <a:gd name="T3" fmla="*/ 20 h 47"/>
                  <a:gd name="T4" fmla="*/ 0 w 41"/>
                  <a:gd name="T5" fmla="*/ 47 h 47"/>
                  <a:gd name="T6" fmla="*/ 34 w 41"/>
                  <a:gd name="T7" fmla="*/ 26 h 47"/>
                  <a:gd name="T8" fmla="*/ 41 w 41"/>
                  <a:gd name="T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7">
                    <a:moveTo>
                      <a:pt x="41" y="0"/>
                    </a:moveTo>
                    <a:lnTo>
                      <a:pt x="11" y="20"/>
                    </a:lnTo>
                    <a:lnTo>
                      <a:pt x="0" y="47"/>
                    </a:lnTo>
                    <a:lnTo>
                      <a:pt x="34" y="26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3" name="Freeform 179">
                <a:extLst>
                  <a:ext uri="{FF2B5EF4-FFF2-40B4-BE49-F238E27FC236}">
                    <a16:creationId xmlns:a16="http://schemas.microsoft.com/office/drawing/2014/main" id="{125A3EB3-2A54-4342-912A-AB4AEB1CA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875" y="3151188"/>
                <a:ext cx="25400" cy="58738"/>
              </a:xfrm>
              <a:custGeom>
                <a:avLst/>
                <a:gdLst>
                  <a:gd name="T0" fmla="*/ 83 w 83"/>
                  <a:gd name="T1" fmla="*/ 27 h 183"/>
                  <a:gd name="T2" fmla="*/ 43 w 83"/>
                  <a:gd name="T3" fmla="*/ 0 h 183"/>
                  <a:gd name="T4" fmla="*/ 2 w 83"/>
                  <a:gd name="T5" fmla="*/ 4 h 183"/>
                  <a:gd name="T6" fmla="*/ 0 w 83"/>
                  <a:gd name="T7" fmla="*/ 67 h 183"/>
                  <a:gd name="T8" fmla="*/ 7 w 83"/>
                  <a:gd name="T9" fmla="*/ 124 h 183"/>
                  <a:gd name="T10" fmla="*/ 20 w 83"/>
                  <a:gd name="T11" fmla="*/ 156 h 183"/>
                  <a:gd name="T12" fmla="*/ 51 w 83"/>
                  <a:gd name="T13" fmla="*/ 183 h 183"/>
                  <a:gd name="T14" fmla="*/ 67 w 83"/>
                  <a:gd name="T15" fmla="*/ 139 h 183"/>
                  <a:gd name="T16" fmla="*/ 44 w 83"/>
                  <a:gd name="T17" fmla="*/ 73 h 183"/>
                  <a:gd name="T18" fmla="*/ 73 w 83"/>
                  <a:gd name="T19" fmla="*/ 57 h 183"/>
                  <a:gd name="T20" fmla="*/ 83 w 83"/>
                  <a:gd name="T21" fmla="*/ 27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3" h="183">
                    <a:moveTo>
                      <a:pt x="83" y="27"/>
                    </a:moveTo>
                    <a:lnTo>
                      <a:pt x="43" y="0"/>
                    </a:lnTo>
                    <a:lnTo>
                      <a:pt x="2" y="4"/>
                    </a:lnTo>
                    <a:lnTo>
                      <a:pt x="0" y="67"/>
                    </a:lnTo>
                    <a:lnTo>
                      <a:pt x="7" y="124"/>
                    </a:lnTo>
                    <a:lnTo>
                      <a:pt x="20" y="156"/>
                    </a:lnTo>
                    <a:lnTo>
                      <a:pt x="51" y="183"/>
                    </a:lnTo>
                    <a:lnTo>
                      <a:pt x="67" y="139"/>
                    </a:lnTo>
                    <a:lnTo>
                      <a:pt x="44" y="73"/>
                    </a:lnTo>
                    <a:lnTo>
                      <a:pt x="73" y="57"/>
                    </a:lnTo>
                    <a:lnTo>
                      <a:pt x="83" y="2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4" name="Freeform 180">
                <a:extLst>
                  <a:ext uri="{FF2B5EF4-FFF2-40B4-BE49-F238E27FC236}">
                    <a16:creationId xmlns:a16="http://schemas.microsoft.com/office/drawing/2014/main" id="{7FCB8FFA-0F05-45C2-A884-BC68DF79F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9938" y="3101975"/>
                <a:ext cx="39688" cy="31750"/>
              </a:xfrm>
              <a:custGeom>
                <a:avLst/>
                <a:gdLst>
                  <a:gd name="T0" fmla="*/ 73 w 127"/>
                  <a:gd name="T1" fmla="*/ 50 h 99"/>
                  <a:gd name="T2" fmla="*/ 76 w 127"/>
                  <a:gd name="T3" fmla="*/ 77 h 99"/>
                  <a:gd name="T4" fmla="*/ 123 w 127"/>
                  <a:gd name="T5" fmla="*/ 99 h 99"/>
                  <a:gd name="T6" fmla="*/ 120 w 127"/>
                  <a:gd name="T7" fmla="*/ 59 h 99"/>
                  <a:gd name="T8" fmla="*/ 110 w 127"/>
                  <a:gd name="T9" fmla="*/ 60 h 99"/>
                  <a:gd name="T10" fmla="*/ 103 w 127"/>
                  <a:gd name="T11" fmla="*/ 33 h 99"/>
                  <a:gd name="T12" fmla="*/ 120 w 127"/>
                  <a:gd name="T13" fmla="*/ 37 h 99"/>
                  <a:gd name="T14" fmla="*/ 127 w 127"/>
                  <a:gd name="T15" fmla="*/ 3 h 99"/>
                  <a:gd name="T16" fmla="*/ 76 w 127"/>
                  <a:gd name="T17" fmla="*/ 0 h 99"/>
                  <a:gd name="T18" fmla="*/ 0 w 127"/>
                  <a:gd name="T19" fmla="*/ 11 h 99"/>
                  <a:gd name="T20" fmla="*/ 16 w 127"/>
                  <a:gd name="T21" fmla="*/ 40 h 99"/>
                  <a:gd name="T22" fmla="*/ 73 w 127"/>
                  <a:gd name="T23" fmla="*/ 5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7" h="99">
                    <a:moveTo>
                      <a:pt x="73" y="50"/>
                    </a:moveTo>
                    <a:lnTo>
                      <a:pt x="76" y="77"/>
                    </a:lnTo>
                    <a:lnTo>
                      <a:pt x="123" y="99"/>
                    </a:lnTo>
                    <a:lnTo>
                      <a:pt x="120" y="59"/>
                    </a:lnTo>
                    <a:lnTo>
                      <a:pt x="110" y="60"/>
                    </a:lnTo>
                    <a:lnTo>
                      <a:pt x="103" y="33"/>
                    </a:lnTo>
                    <a:lnTo>
                      <a:pt x="120" y="37"/>
                    </a:lnTo>
                    <a:lnTo>
                      <a:pt x="127" y="3"/>
                    </a:lnTo>
                    <a:lnTo>
                      <a:pt x="76" y="0"/>
                    </a:lnTo>
                    <a:lnTo>
                      <a:pt x="0" y="11"/>
                    </a:lnTo>
                    <a:lnTo>
                      <a:pt x="16" y="40"/>
                    </a:lnTo>
                    <a:lnTo>
                      <a:pt x="73" y="5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35" name="Freeform 181">
                <a:extLst>
                  <a:ext uri="{FF2B5EF4-FFF2-40B4-BE49-F238E27FC236}">
                    <a16:creationId xmlns:a16="http://schemas.microsoft.com/office/drawing/2014/main" id="{FA2A4CDA-A743-4BFB-B69F-188BB4E59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9625" y="2957513"/>
                <a:ext cx="95250" cy="125413"/>
              </a:xfrm>
              <a:custGeom>
                <a:avLst/>
                <a:gdLst>
                  <a:gd name="T0" fmla="*/ 0 w 300"/>
                  <a:gd name="T1" fmla="*/ 370 h 394"/>
                  <a:gd name="T2" fmla="*/ 36 w 300"/>
                  <a:gd name="T3" fmla="*/ 394 h 394"/>
                  <a:gd name="T4" fmla="*/ 90 w 300"/>
                  <a:gd name="T5" fmla="*/ 370 h 394"/>
                  <a:gd name="T6" fmla="*/ 105 w 300"/>
                  <a:gd name="T7" fmla="*/ 320 h 394"/>
                  <a:gd name="T8" fmla="*/ 109 w 300"/>
                  <a:gd name="T9" fmla="*/ 297 h 394"/>
                  <a:gd name="T10" fmla="*/ 139 w 300"/>
                  <a:gd name="T11" fmla="*/ 300 h 394"/>
                  <a:gd name="T12" fmla="*/ 166 w 300"/>
                  <a:gd name="T13" fmla="*/ 302 h 394"/>
                  <a:gd name="T14" fmla="*/ 202 w 300"/>
                  <a:gd name="T15" fmla="*/ 276 h 394"/>
                  <a:gd name="T16" fmla="*/ 211 w 300"/>
                  <a:gd name="T17" fmla="*/ 256 h 394"/>
                  <a:gd name="T18" fmla="*/ 205 w 300"/>
                  <a:gd name="T19" fmla="*/ 227 h 394"/>
                  <a:gd name="T20" fmla="*/ 171 w 300"/>
                  <a:gd name="T21" fmla="*/ 220 h 394"/>
                  <a:gd name="T22" fmla="*/ 208 w 300"/>
                  <a:gd name="T23" fmla="*/ 196 h 394"/>
                  <a:gd name="T24" fmla="*/ 238 w 300"/>
                  <a:gd name="T25" fmla="*/ 163 h 394"/>
                  <a:gd name="T26" fmla="*/ 274 w 300"/>
                  <a:gd name="T27" fmla="*/ 159 h 394"/>
                  <a:gd name="T28" fmla="*/ 300 w 300"/>
                  <a:gd name="T29" fmla="*/ 112 h 394"/>
                  <a:gd name="T30" fmla="*/ 290 w 300"/>
                  <a:gd name="T31" fmla="*/ 96 h 394"/>
                  <a:gd name="T32" fmla="*/ 244 w 300"/>
                  <a:gd name="T33" fmla="*/ 143 h 394"/>
                  <a:gd name="T34" fmla="*/ 237 w 300"/>
                  <a:gd name="T35" fmla="*/ 120 h 394"/>
                  <a:gd name="T36" fmla="*/ 284 w 300"/>
                  <a:gd name="T37" fmla="*/ 80 h 394"/>
                  <a:gd name="T38" fmla="*/ 266 w 300"/>
                  <a:gd name="T39" fmla="*/ 3 h 394"/>
                  <a:gd name="T40" fmla="*/ 242 w 300"/>
                  <a:gd name="T41" fmla="*/ 0 h 394"/>
                  <a:gd name="T42" fmla="*/ 236 w 300"/>
                  <a:gd name="T43" fmla="*/ 27 h 394"/>
                  <a:gd name="T44" fmla="*/ 207 w 300"/>
                  <a:gd name="T45" fmla="*/ 44 h 394"/>
                  <a:gd name="T46" fmla="*/ 120 w 300"/>
                  <a:gd name="T47" fmla="*/ 111 h 394"/>
                  <a:gd name="T48" fmla="*/ 114 w 300"/>
                  <a:gd name="T49" fmla="*/ 137 h 394"/>
                  <a:gd name="T50" fmla="*/ 114 w 300"/>
                  <a:gd name="T51" fmla="*/ 171 h 394"/>
                  <a:gd name="T52" fmla="*/ 104 w 300"/>
                  <a:gd name="T53" fmla="*/ 147 h 394"/>
                  <a:gd name="T54" fmla="*/ 64 w 300"/>
                  <a:gd name="T55" fmla="*/ 141 h 394"/>
                  <a:gd name="T56" fmla="*/ 61 w 300"/>
                  <a:gd name="T57" fmla="*/ 157 h 394"/>
                  <a:gd name="T58" fmla="*/ 41 w 300"/>
                  <a:gd name="T59" fmla="*/ 134 h 394"/>
                  <a:gd name="T60" fmla="*/ 1 w 300"/>
                  <a:gd name="T61" fmla="*/ 188 h 394"/>
                  <a:gd name="T62" fmla="*/ 12 w 300"/>
                  <a:gd name="T63" fmla="*/ 248 h 394"/>
                  <a:gd name="T64" fmla="*/ 49 w 300"/>
                  <a:gd name="T65" fmla="*/ 248 h 394"/>
                  <a:gd name="T66" fmla="*/ 22 w 300"/>
                  <a:gd name="T67" fmla="*/ 268 h 394"/>
                  <a:gd name="T68" fmla="*/ 32 w 300"/>
                  <a:gd name="T69" fmla="*/ 288 h 394"/>
                  <a:gd name="T70" fmla="*/ 59 w 300"/>
                  <a:gd name="T71" fmla="*/ 300 h 394"/>
                  <a:gd name="T72" fmla="*/ 33 w 300"/>
                  <a:gd name="T73" fmla="*/ 347 h 394"/>
                  <a:gd name="T74" fmla="*/ 0 w 300"/>
                  <a:gd name="T75" fmla="*/ 37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00" h="394">
                    <a:moveTo>
                      <a:pt x="0" y="370"/>
                    </a:moveTo>
                    <a:lnTo>
                      <a:pt x="36" y="394"/>
                    </a:lnTo>
                    <a:lnTo>
                      <a:pt x="90" y="370"/>
                    </a:lnTo>
                    <a:lnTo>
                      <a:pt x="105" y="320"/>
                    </a:lnTo>
                    <a:lnTo>
                      <a:pt x="109" y="297"/>
                    </a:lnTo>
                    <a:lnTo>
                      <a:pt x="139" y="300"/>
                    </a:lnTo>
                    <a:lnTo>
                      <a:pt x="166" y="302"/>
                    </a:lnTo>
                    <a:lnTo>
                      <a:pt x="202" y="276"/>
                    </a:lnTo>
                    <a:lnTo>
                      <a:pt x="211" y="256"/>
                    </a:lnTo>
                    <a:lnTo>
                      <a:pt x="205" y="227"/>
                    </a:lnTo>
                    <a:lnTo>
                      <a:pt x="171" y="220"/>
                    </a:lnTo>
                    <a:lnTo>
                      <a:pt x="208" y="196"/>
                    </a:lnTo>
                    <a:lnTo>
                      <a:pt x="238" y="163"/>
                    </a:lnTo>
                    <a:lnTo>
                      <a:pt x="274" y="159"/>
                    </a:lnTo>
                    <a:lnTo>
                      <a:pt x="300" y="112"/>
                    </a:lnTo>
                    <a:lnTo>
                      <a:pt x="290" y="96"/>
                    </a:lnTo>
                    <a:lnTo>
                      <a:pt x="244" y="143"/>
                    </a:lnTo>
                    <a:lnTo>
                      <a:pt x="237" y="120"/>
                    </a:lnTo>
                    <a:lnTo>
                      <a:pt x="284" y="80"/>
                    </a:lnTo>
                    <a:lnTo>
                      <a:pt x="266" y="3"/>
                    </a:lnTo>
                    <a:lnTo>
                      <a:pt x="242" y="0"/>
                    </a:lnTo>
                    <a:lnTo>
                      <a:pt x="236" y="27"/>
                    </a:lnTo>
                    <a:lnTo>
                      <a:pt x="207" y="44"/>
                    </a:lnTo>
                    <a:lnTo>
                      <a:pt x="120" y="111"/>
                    </a:lnTo>
                    <a:lnTo>
                      <a:pt x="114" y="137"/>
                    </a:lnTo>
                    <a:lnTo>
                      <a:pt x="114" y="171"/>
                    </a:lnTo>
                    <a:lnTo>
                      <a:pt x="104" y="147"/>
                    </a:lnTo>
                    <a:lnTo>
                      <a:pt x="64" y="141"/>
                    </a:lnTo>
                    <a:lnTo>
                      <a:pt x="61" y="157"/>
                    </a:lnTo>
                    <a:lnTo>
                      <a:pt x="41" y="134"/>
                    </a:lnTo>
                    <a:lnTo>
                      <a:pt x="1" y="188"/>
                    </a:lnTo>
                    <a:lnTo>
                      <a:pt x="12" y="248"/>
                    </a:lnTo>
                    <a:lnTo>
                      <a:pt x="49" y="248"/>
                    </a:lnTo>
                    <a:lnTo>
                      <a:pt x="22" y="268"/>
                    </a:lnTo>
                    <a:lnTo>
                      <a:pt x="32" y="288"/>
                    </a:lnTo>
                    <a:lnTo>
                      <a:pt x="59" y="300"/>
                    </a:lnTo>
                    <a:lnTo>
                      <a:pt x="33" y="347"/>
                    </a:lnTo>
                    <a:lnTo>
                      <a:pt x="0" y="37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2AEE26A-D7B6-4E45-9F97-569440FA9917}"/>
                </a:ext>
              </a:extLst>
            </p:cNvPr>
            <p:cNvGrpSpPr/>
            <p:nvPr/>
          </p:nvGrpSpPr>
          <p:grpSpPr>
            <a:xfrm>
              <a:off x="1770063" y="3497263"/>
              <a:ext cx="431800" cy="617538"/>
              <a:chOff x="1770063" y="3497263"/>
              <a:chExt cx="431800" cy="617538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200" name="Freeform 182">
                <a:extLst>
                  <a:ext uri="{FF2B5EF4-FFF2-40B4-BE49-F238E27FC236}">
                    <a16:creationId xmlns:a16="http://schemas.microsoft.com/office/drawing/2014/main" id="{4D701803-40DB-4248-983C-7EFBA08AA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4038" y="3668713"/>
                <a:ext cx="11113" cy="15875"/>
              </a:xfrm>
              <a:custGeom>
                <a:avLst/>
                <a:gdLst>
                  <a:gd name="T0" fmla="*/ 31 w 34"/>
                  <a:gd name="T1" fmla="*/ 49 h 49"/>
                  <a:gd name="T2" fmla="*/ 34 w 34"/>
                  <a:gd name="T3" fmla="*/ 7 h 49"/>
                  <a:gd name="T4" fmla="*/ 0 w 34"/>
                  <a:gd name="T5" fmla="*/ 0 h 49"/>
                  <a:gd name="T6" fmla="*/ 1 w 34"/>
                  <a:gd name="T7" fmla="*/ 33 h 49"/>
                  <a:gd name="T8" fmla="*/ 31 w 34"/>
                  <a:gd name="T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9">
                    <a:moveTo>
                      <a:pt x="31" y="49"/>
                    </a:moveTo>
                    <a:lnTo>
                      <a:pt x="34" y="7"/>
                    </a:lnTo>
                    <a:lnTo>
                      <a:pt x="0" y="0"/>
                    </a:lnTo>
                    <a:lnTo>
                      <a:pt x="1" y="33"/>
                    </a:lnTo>
                    <a:lnTo>
                      <a:pt x="31" y="4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1" name="Freeform 183">
                <a:extLst>
                  <a:ext uri="{FF2B5EF4-FFF2-40B4-BE49-F238E27FC236}">
                    <a16:creationId xmlns:a16="http://schemas.microsoft.com/office/drawing/2014/main" id="{5C6DABB4-D616-41B5-9F07-7652DCD87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0700" y="3724275"/>
                <a:ext cx="26988" cy="15875"/>
              </a:xfrm>
              <a:custGeom>
                <a:avLst/>
                <a:gdLst>
                  <a:gd name="T0" fmla="*/ 0 w 87"/>
                  <a:gd name="T1" fmla="*/ 14 h 50"/>
                  <a:gd name="T2" fmla="*/ 70 w 87"/>
                  <a:gd name="T3" fmla="*/ 50 h 50"/>
                  <a:gd name="T4" fmla="*/ 87 w 87"/>
                  <a:gd name="T5" fmla="*/ 6 h 50"/>
                  <a:gd name="T6" fmla="*/ 67 w 87"/>
                  <a:gd name="T7" fmla="*/ 0 h 50"/>
                  <a:gd name="T8" fmla="*/ 0 w 87"/>
                  <a:gd name="T9" fmla="*/ 1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50">
                    <a:moveTo>
                      <a:pt x="0" y="14"/>
                    </a:moveTo>
                    <a:lnTo>
                      <a:pt x="70" y="50"/>
                    </a:lnTo>
                    <a:lnTo>
                      <a:pt x="87" y="6"/>
                    </a:lnTo>
                    <a:lnTo>
                      <a:pt x="67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02" name="Freeform 184">
                <a:extLst>
                  <a:ext uri="{FF2B5EF4-FFF2-40B4-BE49-F238E27FC236}">
                    <a16:creationId xmlns:a16="http://schemas.microsoft.com/office/drawing/2014/main" id="{DC653982-3CB2-4171-BEB4-67D55F72C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063" y="3497263"/>
                <a:ext cx="431800" cy="617538"/>
              </a:xfrm>
              <a:custGeom>
                <a:avLst/>
                <a:gdLst>
                  <a:gd name="T0" fmla="*/ 1276 w 1360"/>
                  <a:gd name="T1" fmla="*/ 722 h 1942"/>
                  <a:gd name="T2" fmla="*/ 1287 w 1360"/>
                  <a:gd name="T3" fmla="*/ 716 h 1942"/>
                  <a:gd name="T4" fmla="*/ 1360 w 1360"/>
                  <a:gd name="T5" fmla="*/ 654 h 1942"/>
                  <a:gd name="T6" fmla="*/ 1124 w 1360"/>
                  <a:gd name="T7" fmla="*/ 635 h 1942"/>
                  <a:gd name="T8" fmla="*/ 841 w 1360"/>
                  <a:gd name="T9" fmla="*/ 635 h 1942"/>
                  <a:gd name="T10" fmla="*/ 799 w 1360"/>
                  <a:gd name="T11" fmla="*/ 318 h 1942"/>
                  <a:gd name="T12" fmla="*/ 920 w 1360"/>
                  <a:gd name="T13" fmla="*/ 191 h 1942"/>
                  <a:gd name="T14" fmla="*/ 1005 w 1360"/>
                  <a:gd name="T15" fmla="*/ 85 h 1942"/>
                  <a:gd name="T16" fmla="*/ 886 w 1360"/>
                  <a:gd name="T17" fmla="*/ 57 h 1942"/>
                  <a:gd name="T18" fmla="*/ 866 w 1360"/>
                  <a:gd name="T19" fmla="*/ 110 h 1942"/>
                  <a:gd name="T20" fmla="*/ 712 w 1360"/>
                  <a:gd name="T21" fmla="*/ 81 h 1942"/>
                  <a:gd name="T22" fmla="*/ 604 w 1360"/>
                  <a:gd name="T23" fmla="*/ 235 h 1942"/>
                  <a:gd name="T24" fmla="*/ 494 w 1360"/>
                  <a:gd name="T25" fmla="*/ 358 h 1942"/>
                  <a:gd name="T26" fmla="*/ 632 w 1360"/>
                  <a:gd name="T27" fmla="*/ 451 h 1942"/>
                  <a:gd name="T28" fmla="*/ 564 w 1360"/>
                  <a:gd name="T29" fmla="*/ 607 h 1942"/>
                  <a:gd name="T30" fmla="*/ 396 w 1360"/>
                  <a:gd name="T31" fmla="*/ 586 h 1942"/>
                  <a:gd name="T32" fmla="*/ 323 w 1360"/>
                  <a:gd name="T33" fmla="*/ 550 h 1942"/>
                  <a:gd name="T34" fmla="*/ 147 w 1360"/>
                  <a:gd name="T35" fmla="*/ 635 h 1942"/>
                  <a:gd name="T36" fmla="*/ 148 w 1360"/>
                  <a:gd name="T37" fmla="*/ 717 h 1942"/>
                  <a:gd name="T38" fmla="*/ 245 w 1360"/>
                  <a:gd name="T39" fmla="*/ 776 h 1942"/>
                  <a:gd name="T40" fmla="*/ 159 w 1360"/>
                  <a:gd name="T41" fmla="*/ 903 h 1942"/>
                  <a:gd name="T42" fmla="*/ 131 w 1360"/>
                  <a:gd name="T43" fmla="*/ 1026 h 1942"/>
                  <a:gd name="T44" fmla="*/ 250 w 1360"/>
                  <a:gd name="T45" fmla="*/ 1021 h 1942"/>
                  <a:gd name="T46" fmla="*/ 454 w 1360"/>
                  <a:gd name="T47" fmla="*/ 1059 h 1942"/>
                  <a:gd name="T48" fmla="*/ 338 w 1360"/>
                  <a:gd name="T49" fmla="*/ 1171 h 1942"/>
                  <a:gd name="T50" fmla="*/ 296 w 1360"/>
                  <a:gd name="T51" fmla="*/ 1300 h 1942"/>
                  <a:gd name="T52" fmla="*/ 225 w 1360"/>
                  <a:gd name="T53" fmla="*/ 1420 h 1942"/>
                  <a:gd name="T54" fmla="*/ 357 w 1360"/>
                  <a:gd name="T55" fmla="*/ 1386 h 1942"/>
                  <a:gd name="T56" fmla="*/ 450 w 1360"/>
                  <a:gd name="T57" fmla="*/ 1339 h 1942"/>
                  <a:gd name="T58" fmla="*/ 555 w 1360"/>
                  <a:gd name="T59" fmla="*/ 1414 h 1942"/>
                  <a:gd name="T60" fmla="*/ 258 w 1360"/>
                  <a:gd name="T61" fmla="*/ 1450 h 1942"/>
                  <a:gd name="T62" fmla="*/ 199 w 1360"/>
                  <a:gd name="T63" fmla="*/ 1580 h 1942"/>
                  <a:gd name="T64" fmla="*/ 132 w 1360"/>
                  <a:gd name="T65" fmla="*/ 1567 h 1942"/>
                  <a:gd name="T66" fmla="*/ 15 w 1360"/>
                  <a:gd name="T67" fmla="*/ 1575 h 1942"/>
                  <a:gd name="T68" fmla="*/ 147 w 1360"/>
                  <a:gd name="T69" fmla="*/ 1653 h 1942"/>
                  <a:gd name="T70" fmla="*/ 117 w 1360"/>
                  <a:gd name="T71" fmla="*/ 1693 h 1942"/>
                  <a:gd name="T72" fmla="*/ 115 w 1360"/>
                  <a:gd name="T73" fmla="*/ 1809 h 1942"/>
                  <a:gd name="T74" fmla="*/ 228 w 1360"/>
                  <a:gd name="T75" fmla="*/ 1792 h 1942"/>
                  <a:gd name="T76" fmla="*/ 119 w 1360"/>
                  <a:gd name="T77" fmla="*/ 1903 h 1942"/>
                  <a:gd name="T78" fmla="*/ 288 w 1360"/>
                  <a:gd name="T79" fmla="*/ 1818 h 1942"/>
                  <a:gd name="T80" fmla="*/ 218 w 1360"/>
                  <a:gd name="T81" fmla="*/ 1881 h 1942"/>
                  <a:gd name="T82" fmla="*/ 283 w 1360"/>
                  <a:gd name="T83" fmla="*/ 1927 h 1942"/>
                  <a:gd name="T84" fmla="*/ 462 w 1360"/>
                  <a:gd name="T85" fmla="*/ 1919 h 1942"/>
                  <a:gd name="T86" fmla="*/ 575 w 1360"/>
                  <a:gd name="T87" fmla="*/ 1845 h 1942"/>
                  <a:gd name="T88" fmla="*/ 608 w 1360"/>
                  <a:gd name="T89" fmla="*/ 1789 h 1942"/>
                  <a:gd name="T90" fmla="*/ 650 w 1360"/>
                  <a:gd name="T91" fmla="*/ 1781 h 1942"/>
                  <a:gd name="T92" fmla="*/ 778 w 1360"/>
                  <a:gd name="T93" fmla="*/ 1730 h 1942"/>
                  <a:gd name="T94" fmla="*/ 1009 w 1360"/>
                  <a:gd name="T95" fmla="*/ 1632 h 1942"/>
                  <a:gd name="T96" fmla="*/ 1133 w 1360"/>
                  <a:gd name="T97" fmla="*/ 1597 h 1942"/>
                  <a:gd name="T98" fmla="*/ 1192 w 1360"/>
                  <a:gd name="T99" fmla="*/ 1524 h 1942"/>
                  <a:gd name="T100" fmla="*/ 1319 w 1360"/>
                  <a:gd name="T101" fmla="*/ 1248 h 1942"/>
                  <a:gd name="T102" fmla="*/ 1235 w 1360"/>
                  <a:gd name="T103" fmla="*/ 850 h 1942"/>
                  <a:gd name="T104" fmla="*/ 1235 w 1360"/>
                  <a:gd name="T105" fmla="*/ 712 h 1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60" h="1942">
                    <a:moveTo>
                      <a:pt x="1261" y="721"/>
                    </a:moveTo>
                    <a:lnTo>
                      <a:pt x="1261" y="721"/>
                    </a:lnTo>
                    <a:lnTo>
                      <a:pt x="1269" y="722"/>
                    </a:lnTo>
                    <a:lnTo>
                      <a:pt x="1276" y="722"/>
                    </a:lnTo>
                    <a:lnTo>
                      <a:pt x="1280" y="722"/>
                    </a:lnTo>
                    <a:lnTo>
                      <a:pt x="1283" y="719"/>
                    </a:lnTo>
                    <a:lnTo>
                      <a:pt x="1286" y="717"/>
                    </a:lnTo>
                    <a:lnTo>
                      <a:pt x="1287" y="716"/>
                    </a:lnTo>
                    <a:lnTo>
                      <a:pt x="1288" y="714"/>
                    </a:lnTo>
                    <a:lnTo>
                      <a:pt x="1315" y="697"/>
                    </a:lnTo>
                    <a:lnTo>
                      <a:pt x="1337" y="677"/>
                    </a:lnTo>
                    <a:lnTo>
                      <a:pt x="1360" y="654"/>
                    </a:lnTo>
                    <a:lnTo>
                      <a:pt x="1257" y="650"/>
                    </a:lnTo>
                    <a:lnTo>
                      <a:pt x="1228" y="638"/>
                    </a:lnTo>
                    <a:lnTo>
                      <a:pt x="1164" y="663"/>
                    </a:lnTo>
                    <a:lnTo>
                      <a:pt x="1124" y="635"/>
                    </a:lnTo>
                    <a:lnTo>
                      <a:pt x="1058" y="498"/>
                    </a:lnTo>
                    <a:lnTo>
                      <a:pt x="991" y="504"/>
                    </a:lnTo>
                    <a:lnTo>
                      <a:pt x="921" y="623"/>
                    </a:lnTo>
                    <a:lnTo>
                      <a:pt x="841" y="635"/>
                    </a:lnTo>
                    <a:lnTo>
                      <a:pt x="734" y="519"/>
                    </a:lnTo>
                    <a:lnTo>
                      <a:pt x="731" y="441"/>
                    </a:lnTo>
                    <a:lnTo>
                      <a:pt x="804" y="410"/>
                    </a:lnTo>
                    <a:lnTo>
                      <a:pt x="799" y="318"/>
                    </a:lnTo>
                    <a:lnTo>
                      <a:pt x="837" y="280"/>
                    </a:lnTo>
                    <a:lnTo>
                      <a:pt x="887" y="276"/>
                    </a:lnTo>
                    <a:lnTo>
                      <a:pt x="922" y="247"/>
                    </a:lnTo>
                    <a:lnTo>
                      <a:pt x="920" y="191"/>
                    </a:lnTo>
                    <a:lnTo>
                      <a:pt x="946" y="176"/>
                    </a:lnTo>
                    <a:lnTo>
                      <a:pt x="932" y="169"/>
                    </a:lnTo>
                    <a:lnTo>
                      <a:pt x="949" y="119"/>
                    </a:lnTo>
                    <a:lnTo>
                      <a:pt x="1005" y="85"/>
                    </a:lnTo>
                    <a:lnTo>
                      <a:pt x="1018" y="62"/>
                    </a:lnTo>
                    <a:lnTo>
                      <a:pt x="948" y="0"/>
                    </a:lnTo>
                    <a:lnTo>
                      <a:pt x="928" y="57"/>
                    </a:lnTo>
                    <a:lnTo>
                      <a:pt x="886" y="57"/>
                    </a:lnTo>
                    <a:lnTo>
                      <a:pt x="899" y="140"/>
                    </a:lnTo>
                    <a:lnTo>
                      <a:pt x="873" y="192"/>
                    </a:lnTo>
                    <a:lnTo>
                      <a:pt x="833" y="190"/>
                    </a:lnTo>
                    <a:lnTo>
                      <a:pt x="866" y="110"/>
                    </a:lnTo>
                    <a:lnTo>
                      <a:pt x="812" y="51"/>
                    </a:lnTo>
                    <a:lnTo>
                      <a:pt x="762" y="68"/>
                    </a:lnTo>
                    <a:lnTo>
                      <a:pt x="772" y="91"/>
                    </a:lnTo>
                    <a:lnTo>
                      <a:pt x="712" y="81"/>
                    </a:lnTo>
                    <a:lnTo>
                      <a:pt x="693" y="124"/>
                    </a:lnTo>
                    <a:lnTo>
                      <a:pt x="643" y="142"/>
                    </a:lnTo>
                    <a:lnTo>
                      <a:pt x="594" y="196"/>
                    </a:lnTo>
                    <a:lnTo>
                      <a:pt x="604" y="235"/>
                    </a:lnTo>
                    <a:lnTo>
                      <a:pt x="617" y="265"/>
                    </a:lnTo>
                    <a:lnTo>
                      <a:pt x="547" y="292"/>
                    </a:lnTo>
                    <a:lnTo>
                      <a:pt x="515" y="326"/>
                    </a:lnTo>
                    <a:lnTo>
                      <a:pt x="494" y="358"/>
                    </a:lnTo>
                    <a:lnTo>
                      <a:pt x="551" y="392"/>
                    </a:lnTo>
                    <a:lnTo>
                      <a:pt x="615" y="374"/>
                    </a:lnTo>
                    <a:lnTo>
                      <a:pt x="665" y="384"/>
                    </a:lnTo>
                    <a:lnTo>
                      <a:pt x="632" y="451"/>
                    </a:lnTo>
                    <a:lnTo>
                      <a:pt x="579" y="451"/>
                    </a:lnTo>
                    <a:lnTo>
                      <a:pt x="539" y="494"/>
                    </a:lnTo>
                    <a:lnTo>
                      <a:pt x="566" y="548"/>
                    </a:lnTo>
                    <a:lnTo>
                      <a:pt x="564" y="607"/>
                    </a:lnTo>
                    <a:lnTo>
                      <a:pt x="544" y="605"/>
                    </a:lnTo>
                    <a:lnTo>
                      <a:pt x="493" y="575"/>
                    </a:lnTo>
                    <a:lnTo>
                      <a:pt x="437" y="552"/>
                    </a:lnTo>
                    <a:lnTo>
                      <a:pt x="396" y="586"/>
                    </a:lnTo>
                    <a:lnTo>
                      <a:pt x="411" y="626"/>
                    </a:lnTo>
                    <a:lnTo>
                      <a:pt x="367" y="609"/>
                    </a:lnTo>
                    <a:lnTo>
                      <a:pt x="363" y="579"/>
                    </a:lnTo>
                    <a:lnTo>
                      <a:pt x="323" y="550"/>
                    </a:lnTo>
                    <a:lnTo>
                      <a:pt x="283" y="557"/>
                    </a:lnTo>
                    <a:lnTo>
                      <a:pt x="213" y="545"/>
                    </a:lnTo>
                    <a:lnTo>
                      <a:pt x="204" y="610"/>
                    </a:lnTo>
                    <a:lnTo>
                      <a:pt x="147" y="635"/>
                    </a:lnTo>
                    <a:lnTo>
                      <a:pt x="161" y="687"/>
                    </a:lnTo>
                    <a:lnTo>
                      <a:pt x="195" y="697"/>
                    </a:lnTo>
                    <a:lnTo>
                      <a:pt x="205" y="731"/>
                    </a:lnTo>
                    <a:lnTo>
                      <a:pt x="148" y="717"/>
                    </a:lnTo>
                    <a:lnTo>
                      <a:pt x="141" y="767"/>
                    </a:lnTo>
                    <a:lnTo>
                      <a:pt x="166" y="803"/>
                    </a:lnTo>
                    <a:lnTo>
                      <a:pt x="191" y="783"/>
                    </a:lnTo>
                    <a:lnTo>
                      <a:pt x="245" y="776"/>
                    </a:lnTo>
                    <a:lnTo>
                      <a:pt x="248" y="806"/>
                    </a:lnTo>
                    <a:lnTo>
                      <a:pt x="269" y="822"/>
                    </a:lnTo>
                    <a:lnTo>
                      <a:pt x="179" y="846"/>
                    </a:lnTo>
                    <a:lnTo>
                      <a:pt x="159" y="903"/>
                    </a:lnTo>
                    <a:lnTo>
                      <a:pt x="113" y="920"/>
                    </a:lnTo>
                    <a:lnTo>
                      <a:pt x="73" y="970"/>
                    </a:lnTo>
                    <a:lnTo>
                      <a:pt x="117" y="1006"/>
                    </a:lnTo>
                    <a:lnTo>
                      <a:pt x="131" y="1026"/>
                    </a:lnTo>
                    <a:lnTo>
                      <a:pt x="177" y="1029"/>
                    </a:lnTo>
                    <a:lnTo>
                      <a:pt x="185" y="1063"/>
                    </a:lnTo>
                    <a:lnTo>
                      <a:pt x="211" y="1061"/>
                    </a:lnTo>
                    <a:lnTo>
                      <a:pt x="250" y="1021"/>
                    </a:lnTo>
                    <a:lnTo>
                      <a:pt x="252" y="1072"/>
                    </a:lnTo>
                    <a:lnTo>
                      <a:pt x="275" y="1092"/>
                    </a:lnTo>
                    <a:lnTo>
                      <a:pt x="408" y="1090"/>
                    </a:lnTo>
                    <a:lnTo>
                      <a:pt x="454" y="1059"/>
                    </a:lnTo>
                    <a:lnTo>
                      <a:pt x="448" y="1096"/>
                    </a:lnTo>
                    <a:lnTo>
                      <a:pt x="472" y="1146"/>
                    </a:lnTo>
                    <a:lnTo>
                      <a:pt x="395" y="1133"/>
                    </a:lnTo>
                    <a:lnTo>
                      <a:pt x="338" y="1171"/>
                    </a:lnTo>
                    <a:lnTo>
                      <a:pt x="303" y="1253"/>
                    </a:lnTo>
                    <a:lnTo>
                      <a:pt x="340" y="1250"/>
                    </a:lnTo>
                    <a:lnTo>
                      <a:pt x="346" y="1266"/>
                    </a:lnTo>
                    <a:lnTo>
                      <a:pt x="296" y="1300"/>
                    </a:lnTo>
                    <a:lnTo>
                      <a:pt x="271" y="1367"/>
                    </a:lnTo>
                    <a:lnTo>
                      <a:pt x="155" y="1425"/>
                    </a:lnTo>
                    <a:lnTo>
                      <a:pt x="165" y="1447"/>
                    </a:lnTo>
                    <a:lnTo>
                      <a:pt x="225" y="1420"/>
                    </a:lnTo>
                    <a:lnTo>
                      <a:pt x="281" y="1419"/>
                    </a:lnTo>
                    <a:lnTo>
                      <a:pt x="274" y="1404"/>
                    </a:lnTo>
                    <a:lnTo>
                      <a:pt x="297" y="1400"/>
                    </a:lnTo>
                    <a:lnTo>
                      <a:pt x="357" y="1386"/>
                    </a:lnTo>
                    <a:lnTo>
                      <a:pt x="391" y="1372"/>
                    </a:lnTo>
                    <a:lnTo>
                      <a:pt x="437" y="1309"/>
                    </a:lnTo>
                    <a:lnTo>
                      <a:pt x="470" y="1292"/>
                    </a:lnTo>
                    <a:lnTo>
                      <a:pt x="450" y="1339"/>
                    </a:lnTo>
                    <a:lnTo>
                      <a:pt x="441" y="1375"/>
                    </a:lnTo>
                    <a:lnTo>
                      <a:pt x="478" y="1385"/>
                    </a:lnTo>
                    <a:lnTo>
                      <a:pt x="541" y="1398"/>
                    </a:lnTo>
                    <a:lnTo>
                      <a:pt x="555" y="1414"/>
                    </a:lnTo>
                    <a:lnTo>
                      <a:pt x="478" y="1401"/>
                    </a:lnTo>
                    <a:lnTo>
                      <a:pt x="424" y="1411"/>
                    </a:lnTo>
                    <a:lnTo>
                      <a:pt x="334" y="1446"/>
                    </a:lnTo>
                    <a:lnTo>
                      <a:pt x="258" y="1450"/>
                    </a:lnTo>
                    <a:lnTo>
                      <a:pt x="225" y="1460"/>
                    </a:lnTo>
                    <a:lnTo>
                      <a:pt x="218" y="1516"/>
                    </a:lnTo>
                    <a:lnTo>
                      <a:pt x="172" y="1537"/>
                    </a:lnTo>
                    <a:lnTo>
                      <a:pt x="199" y="1580"/>
                    </a:lnTo>
                    <a:lnTo>
                      <a:pt x="246" y="1600"/>
                    </a:lnTo>
                    <a:lnTo>
                      <a:pt x="179" y="1603"/>
                    </a:lnTo>
                    <a:lnTo>
                      <a:pt x="149" y="1593"/>
                    </a:lnTo>
                    <a:lnTo>
                      <a:pt x="132" y="1567"/>
                    </a:lnTo>
                    <a:lnTo>
                      <a:pt x="92" y="1601"/>
                    </a:lnTo>
                    <a:lnTo>
                      <a:pt x="112" y="1554"/>
                    </a:lnTo>
                    <a:lnTo>
                      <a:pt x="39" y="1572"/>
                    </a:lnTo>
                    <a:lnTo>
                      <a:pt x="15" y="1575"/>
                    </a:lnTo>
                    <a:lnTo>
                      <a:pt x="0" y="1619"/>
                    </a:lnTo>
                    <a:lnTo>
                      <a:pt x="16" y="1644"/>
                    </a:lnTo>
                    <a:lnTo>
                      <a:pt x="97" y="1648"/>
                    </a:lnTo>
                    <a:lnTo>
                      <a:pt x="147" y="1653"/>
                    </a:lnTo>
                    <a:lnTo>
                      <a:pt x="187" y="1653"/>
                    </a:lnTo>
                    <a:lnTo>
                      <a:pt x="194" y="1666"/>
                    </a:lnTo>
                    <a:lnTo>
                      <a:pt x="144" y="1683"/>
                    </a:lnTo>
                    <a:lnTo>
                      <a:pt x="117" y="1693"/>
                    </a:lnTo>
                    <a:lnTo>
                      <a:pt x="61" y="1733"/>
                    </a:lnTo>
                    <a:lnTo>
                      <a:pt x="21" y="1777"/>
                    </a:lnTo>
                    <a:lnTo>
                      <a:pt x="84" y="1773"/>
                    </a:lnTo>
                    <a:lnTo>
                      <a:pt x="115" y="1809"/>
                    </a:lnTo>
                    <a:lnTo>
                      <a:pt x="138" y="1792"/>
                    </a:lnTo>
                    <a:lnTo>
                      <a:pt x="210" y="1759"/>
                    </a:lnTo>
                    <a:lnTo>
                      <a:pt x="244" y="1779"/>
                    </a:lnTo>
                    <a:lnTo>
                      <a:pt x="228" y="1792"/>
                    </a:lnTo>
                    <a:lnTo>
                      <a:pt x="158" y="1816"/>
                    </a:lnTo>
                    <a:lnTo>
                      <a:pt x="129" y="1879"/>
                    </a:lnTo>
                    <a:lnTo>
                      <a:pt x="79" y="1899"/>
                    </a:lnTo>
                    <a:lnTo>
                      <a:pt x="119" y="1903"/>
                    </a:lnTo>
                    <a:lnTo>
                      <a:pt x="151" y="1876"/>
                    </a:lnTo>
                    <a:lnTo>
                      <a:pt x="181" y="1843"/>
                    </a:lnTo>
                    <a:lnTo>
                      <a:pt x="218" y="1838"/>
                    </a:lnTo>
                    <a:lnTo>
                      <a:pt x="288" y="1818"/>
                    </a:lnTo>
                    <a:lnTo>
                      <a:pt x="265" y="1841"/>
                    </a:lnTo>
                    <a:lnTo>
                      <a:pt x="308" y="1848"/>
                    </a:lnTo>
                    <a:lnTo>
                      <a:pt x="242" y="1881"/>
                    </a:lnTo>
                    <a:lnTo>
                      <a:pt x="218" y="1881"/>
                    </a:lnTo>
                    <a:lnTo>
                      <a:pt x="186" y="1908"/>
                    </a:lnTo>
                    <a:lnTo>
                      <a:pt x="223" y="1918"/>
                    </a:lnTo>
                    <a:lnTo>
                      <a:pt x="223" y="1942"/>
                    </a:lnTo>
                    <a:lnTo>
                      <a:pt x="283" y="1927"/>
                    </a:lnTo>
                    <a:lnTo>
                      <a:pt x="302" y="1910"/>
                    </a:lnTo>
                    <a:lnTo>
                      <a:pt x="325" y="1920"/>
                    </a:lnTo>
                    <a:lnTo>
                      <a:pt x="419" y="1933"/>
                    </a:lnTo>
                    <a:lnTo>
                      <a:pt x="462" y="1919"/>
                    </a:lnTo>
                    <a:lnTo>
                      <a:pt x="499" y="1909"/>
                    </a:lnTo>
                    <a:lnTo>
                      <a:pt x="521" y="1876"/>
                    </a:lnTo>
                    <a:lnTo>
                      <a:pt x="558" y="1875"/>
                    </a:lnTo>
                    <a:lnTo>
                      <a:pt x="575" y="1845"/>
                    </a:lnTo>
                    <a:lnTo>
                      <a:pt x="632" y="1848"/>
                    </a:lnTo>
                    <a:lnTo>
                      <a:pt x="622" y="1818"/>
                    </a:lnTo>
                    <a:lnTo>
                      <a:pt x="627" y="1791"/>
                    </a:lnTo>
                    <a:lnTo>
                      <a:pt x="608" y="1789"/>
                    </a:lnTo>
                    <a:lnTo>
                      <a:pt x="617" y="1752"/>
                    </a:lnTo>
                    <a:lnTo>
                      <a:pt x="640" y="1754"/>
                    </a:lnTo>
                    <a:lnTo>
                      <a:pt x="664" y="1734"/>
                    </a:lnTo>
                    <a:lnTo>
                      <a:pt x="650" y="1781"/>
                    </a:lnTo>
                    <a:lnTo>
                      <a:pt x="681" y="1808"/>
                    </a:lnTo>
                    <a:lnTo>
                      <a:pt x="714" y="1778"/>
                    </a:lnTo>
                    <a:lnTo>
                      <a:pt x="757" y="1770"/>
                    </a:lnTo>
                    <a:lnTo>
                      <a:pt x="778" y="1730"/>
                    </a:lnTo>
                    <a:lnTo>
                      <a:pt x="814" y="1740"/>
                    </a:lnTo>
                    <a:lnTo>
                      <a:pt x="843" y="1700"/>
                    </a:lnTo>
                    <a:lnTo>
                      <a:pt x="910" y="1663"/>
                    </a:lnTo>
                    <a:lnTo>
                      <a:pt x="1009" y="1632"/>
                    </a:lnTo>
                    <a:lnTo>
                      <a:pt x="1029" y="1588"/>
                    </a:lnTo>
                    <a:lnTo>
                      <a:pt x="1053" y="1572"/>
                    </a:lnTo>
                    <a:lnTo>
                      <a:pt x="1066" y="1622"/>
                    </a:lnTo>
                    <a:lnTo>
                      <a:pt x="1133" y="1597"/>
                    </a:lnTo>
                    <a:lnTo>
                      <a:pt x="1199" y="1614"/>
                    </a:lnTo>
                    <a:lnTo>
                      <a:pt x="1242" y="1606"/>
                    </a:lnTo>
                    <a:lnTo>
                      <a:pt x="1199" y="1547"/>
                    </a:lnTo>
                    <a:lnTo>
                      <a:pt x="1192" y="1524"/>
                    </a:lnTo>
                    <a:lnTo>
                      <a:pt x="1222" y="1524"/>
                    </a:lnTo>
                    <a:lnTo>
                      <a:pt x="1234" y="1474"/>
                    </a:lnTo>
                    <a:lnTo>
                      <a:pt x="1290" y="1324"/>
                    </a:lnTo>
                    <a:lnTo>
                      <a:pt x="1319" y="1248"/>
                    </a:lnTo>
                    <a:lnTo>
                      <a:pt x="1274" y="1056"/>
                    </a:lnTo>
                    <a:lnTo>
                      <a:pt x="1257" y="976"/>
                    </a:lnTo>
                    <a:lnTo>
                      <a:pt x="1287" y="916"/>
                    </a:lnTo>
                    <a:lnTo>
                      <a:pt x="1235" y="850"/>
                    </a:lnTo>
                    <a:lnTo>
                      <a:pt x="1218" y="744"/>
                    </a:lnTo>
                    <a:lnTo>
                      <a:pt x="1228" y="707"/>
                    </a:lnTo>
                    <a:lnTo>
                      <a:pt x="1228" y="707"/>
                    </a:lnTo>
                    <a:lnTo>
                      <a:pt x="1235" y="712"/>
                    </a:lnTo>
                    <a:lnTo>
                      <a:pt x="1246" y="716"/>
                    </a:lnTo>
                    <a:lnTo>
                      <a:pt x="1261" y="721"/>
                    </a:lnTo>
                    <a:lnTo>
                      <a:pt x="1261" y="72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E184563-1E90-4CAD-B55B-B47FAA3F523F}"/>
                </a:ext>
              </a:extLst>
            </p:cNvPr>
            <p:cNvGrpSpPr/>
            <p:nvPr/>
          </p:nvGrpSpPr>
          <p:grpSpPr>
            <a:xfrm>
              <a:off x="4645025" y="5435600"/>
              <a:ext cx="838201" cy="850901"/>
              <a:chOff x="4645025" y="5435600"/>
              <a:chExt cx="838201" cy="850901"/>
            </a:xfrm>
            <a:solidFill>
              <a:sysClr val="window" lastClr="FFFFFF">
                <a:lumMod val="65000"/>
              </a:sysClr>
            </a:solidFill>
          </p:grpSpPr>
          <p:sp>
            <p:nvSpPr>
              <p:cNvPr id="151" name="Freeform 185">
                <a:extLst>
                  <a:ext uri="{FF2B5EF4-FFF2-40B4-BE49-F238E27FC236}">
                    <a16:creationId xmlns:a16="http://schemas.microsoft.com/office/drawing/2014/main" id="{C5BFE96B-9B3A-4C5C-8801-5B8A42C36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5025" y="5700713"/>
                <a:ext cx="41275" cy="52388"/>
              </a:xfrm>
              <a:custGeom>
                <a:avLst/>
                <a:gdLst>
                  <a:gd name="T0" fmla="*/ 96 w 130"/>
                  <a:gd name="T1" fmla="*/ 101 h 166"/>
                  <a:gd name="T2" fmla="*/ 65 w 130"/>
                  <a:gd name="T3" fmla="*/ 82 h 166"/>
                  <a:gd name="T4" fmla="*/ 60 w 130"/>
                  <a:gd name="T5" fmla="*/ 44 h 166"/>
                  <a:gd name="T6" fmla="*/ 98 w 130"/>
                  <a:gd name="T7" fmla="*/ 31 h 166"/>
                  <a:gd name="T8" fmla="*/ 79 w 130"/>
                  <a:gd name="T9" fmla="*/ 9 h 166"/>
                  <a:gd name="T10" fmla="*/ 59 w 130"/>
                  <a:gd name="T11" fmla="*/ 0 h 166"/>
                  <a:gd name="T12" fmla="*/ 52 w 130"/>
                  <a:gd name="T13" fmla="*/ 13 h 166"/>
                  <a:gd name="T14" fmla="*/ 5 w 130"/>
                  <a:gd name="T15" fmla="*/ 5 h 166"/>
                  <a:gd name="T16" fmla="*/ 0 w 130"/>
                  <a:gd name="T17" fmla="*/ 27 h 166"/>
                  <a:gd name="T18" fmla="*/ 63 w 130"/>
                  <a:gd name="T19" fmla="*/ 95 h 166"/>
                  <a:gd name="T20" fmla="*/ 68 w 130"/>
                  <a:gd name="T21" fmla="*/ 132 h 166"/>
                  <a:gd name="T22" fmla="*/ 126 w 130"/>
                  <a:gd name="T23" fmla="*/ 166 h 166"/>
                  <a:gd name="T24" fmla="*/ 130 w 130"/>
                  <a:gd name="T25" fmla="*/ 132 h 166"/>
                  <a:gd name="T26" fmla="*/ 94 w 130"/>
                  <a:gd name="T27" fmla="*/ 130 h 166"/>
                  <a:gd name="T28" fmla="*/ 96 w 130"/>
                  <a:gd name="T29" fmla="*/ 101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0" h="166">
                    <a:moveTo>
                      <a:pt x="96" y="101"/>
                    </a:moveTo>
                    <a:lnTo>
                      <a:pt x="65" y="82"/>
                    </a:lnTo>
                    <a:lnTo>
                      <a:pt x="60" y="44"/>
                    </a:lnTo>
                    <a:lnTo>
                      <a:pt x="98" y="31"/>
                    </a:lnTo>
                    <a:lnTo>
                      <a:pt x="79" y="9"/>
                    </a:lnTo>
                    <a:lnTo>
                      <a:pt x="59" y="0"/>
                    </a:lnTo>
                    <a:lnTo>
                      <a:pt x="52" y="13"/>
                    </a:lnTo>
                    <a:lnTo>
                      <a:pt x="5" y="5"/>
                    </a:lnTo>
                    <a:lnTo>
                      <a:pt x="0" y="27"/>
                    </a:lnTo>
                    <a:lnTo>
                      <a:pt x="63" y="95"/>
                    </a:lnTo>
                    <a:lnTo>
                      <a:pt x="68" y="132"/>
                    </a:lnTo>
                    <a:lnTo>
                      <a:pt x="126" y="166"/>
                    </a:lnTo>
                    <a:lnTo>
                      <a:pt x="130" y="132"/>
                    </a:lnTo>
                    <a:lnTo>
                      <a:pt x="94" y="130"/>
                    </a:lnTo>
                    <a:lnTo>
                      <a:pt x="96" y="10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2" name="Freeform 186">
                <a:extLst>
                  <a:ext uri="{FF2B5EF4-FFF2-40B4-BE49-F238E27FC236}">
                    <a16:creationId xmlns:a16="http://schemas.microsoft.com/office/drawing/2014/main" id="{5278F054-A5BC-4700-B8EA-70335218C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0750" y="5816600"/>
                <a:ext cx="20638" cy="36513"/>
              </a:xfrm>
              <a:custGeom>
                <a:avLst/>
                <a:gdLst>
                  <a:gd name="T0" fmla="*/ 57 w 66"/>
                  <a:gd name="T1" fmla="*/ 0 h 116"/>
                  <a:gd name="T2" fmla="*/ 21 w 66"/>
                  <a:gd name="T3" fmla="*/ 22 h 116"/>
                  <a:gd name="T4" fmla="*/ 17 w 66"/>
                  <a:gd name="T5" fmla="*/ 56 h 116"/>
                  <a:gd name="T6" fmla="*/ 2 w 66"/>
                  <a:gd name="T7" fmla="*/ 80 h 116"/>
                  <a:gd name="T8" fmla="*/ 0 w 66"/>
                  <a:gd name="T9" fmla="*/ 107 h 116"/>
                  <a:gd name="T10" fmla="*/ 11 w 66"/>
                  <a:gd name="T11" fmla="*/ 116 h 116"/>
                  <a:gd name="T12" fmla="*/ 39 w 66"/>
                  <a:gd name="T13" fmla="*/ 86 h 116"/>
                  <a:gd name="T14" fmla="*/ 42 w 66"/>
                  <a:gd name="T15" fmla="*/ 99 h 116"/>
                  <a:gd name="T16" fmla="*/ 60 w 66"/>
                  <a:gd name="T17" fmla="*/ 99 h 116"/>
                  <a:gd name="T18" fmla="*/ 66 w 66"/>
                  <a:gd name="T19" fmla="*/ 47 h 116"/>
                  <a:gd name="T20" fmla="*/ 57 w 66"/>
                  <a:gd name="T21" fmla="*/ 24 h 116"/>
                  <a:gd name="T22" fmla="*/ 57 w 66"/>
                  <a:gd name="T23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116">
                    <a:moveTo>
                      <a:pt x="57" y="0"/>
                    </a:moveTo>
                    <a:lnTo>
                      <a:pt x="21" y="22"/>
                    </a:lnTo>
                    <a:lnTo>
                      <a:pt x="17" y="56"/>
                    </a:lnTo>
                    <a:lnTo>
                      <a:pt x="2" y="80"/>
                    </a:lnTo>
                    <a:lnTo>
                      <a:pt x="0" y="107"/>
                    </a:lnTo>
                    <a:lnTo>
                      <a:pt x="11" y="116"/>
                    </a:lnTo>
                    <a:lnTo>
                      <a:pt x="39" y="86"/>
                    </a:lnTo>
                    <a:lnTo>
                      <a:pt x="42" y="99"/>
                    </a:lnTo>
                    <a:lnTo>
                      <a:pt x="60" y="99"/>
                    </a:lnTo>
                    <a:lnTo>
                      <a:pt x="66" y="47"/>
                    </a:lnTo>
                    <a:lnTo>
                      <a:pt x="57" y="24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3" name="Freeform 187">
                <a:extLst>
                  <a:ext uri="{FF2B5EF4-FFF2-40B4-BE49-F238E27FC236}">
                    <a16:creationId xmlns:a16="http://schemas.microsoft.com/office/drawing/2014/main" id="{44F7BD5B-7A22-4A14-9215-0E910E2FF7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2975" y="5842000"/>
                <a:ext cx="9525" cy="14288"/>
              </a:xfrm>
              <a:custGeom>
                <a:avLst/>
                <a:gdLst>
                  <a:gd name="T0" fmla="*/ 8 w 29"/>
                  <a:gd name="T1" fmla="*/ 0 h 45"/>
                  <a:gd name="T2" fmla="*/ 0 w 29"/>
                  <a:gd name="T3" fmla="*/ 31 h 45"/>
                  <a:gd name="T4" fmla="*/ 29 w 29"/>
                  <a:gd name="T5" fmla="*/ 45 h 45"/>
                  <a:gd name="T6" fmla="*/ 14 w 29"/>
                  <a:gd name="T7" fmla="*/ 22 h 45"/>
                  <a:gd name="T8" fmla="*/ 28 w 29"/>
                  <a:gd name="T9" fmla="*/ 0 h 45"/>
                  <a:gd name="T10" fmla="*/ 8 w 29"/>
                  <a:gd name="T1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45">
                    <a:moveTo>
                      <a:pt x="8" y="0"/>
                    </a:moveTo>
                    <a:lnTo>
                      <a:pt x="0" y="31"/>
                    </a:lnTo>
                    <a:lnTo>
                      <a:pt x="29" y="45"/>
                    </a:lnTo>
                    <a:lnTo>
                      <a:pt x="14" y="22"/>
                    </a:lnTo>
                    <a:lnTo>
                      <a:pt x="2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4" name="Freeform 188">
                <a:extLst>
                  <a:ext uri="{FF2B5EF4-FFF2-40B4-BE49-F238E27FC236}">
                    <a16:creationId xmlns:a16="http://schemas.microsoft.com/office/drawing/2014/main" id="{502FC3BE-B9A3-4754-A7FA-637FDBB9D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8688" y="5862638"/>
                <a:ext cx="17463" cy="25400"/>
              </a:xfrm>
              <a:custGeom>
                <a:avLst/>
                <a:gdLst>
                  <a:gd name="T0" fmla="*/ 29 w 54"/>
                  <a:gd name="T1" fmla="*/ 7 h 79"/>
                  <a:gd name="T2" fmla="*/ 0 w 54"/>
                  <a:gd name="T3" fmla="*/ 0 h 79"/>
                  <a:gd name="T4" fmla="*/ 3 w 54"/>
                  <a:gd name="T5" fmla="*/ 49 h 79"/>
                  <a:gd name="T6" fmla="*/ 25 w 54"/>
                  <a:gd name="T7" fmla="*/ 62 h 79"/>
                  <a:gd name="T8" fmla="*/ 53 w 54"/>
                  <a:gd name="T9" fmla="*/ 79 h 79"/>
                  <a:gd name="T10" fmla="*/ 54 w 54"/>
                  <a:gd name="T11" fmla="*/ 57 h 79"/>
                  <a:gd name="T12" fmla="*/ 25 w 54"/>
                  <a:gd name="T13" fmla="*/ 40 h 79"/>
                  <a:gd name="T14" fmla="*/ 29 w 54"/>
                  <a:gd name="T15" fmla="*/ 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79">
                    <a:moveTo>
                      <a:pt x="29" y="7"/>
                    </a:moveTo>
                    <a:lnTo>
                      <a:pt x="0" y="0"/>
                    </a:lnTo>
                    <a:lnTo>
                      <a:pt x="3" y="49"/>
                    </a:lnTo>
                    <a:lnTo>
                      <a:pt x="25" y="62"/>
                    </a:lnTo>
                    <a:lnTo>
                      <a:pt x="53" y="79"/>
                    </a:lnTo>
                    <a:lnTo>
                      <a:pt x="54" y="57"/>
                    </a:lnTo>
                    <a:lnTo>
                      <a:pt x="25" y="40"/>
                    </a:lnTo>
                    <a:lnTo>
                      <a:pt x="29" y="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5" name="Freeform 189">
                <a:extLst>
                  <a:ext uri="{FF2B5EF4-FFF2-40B4-BE49-F238E27FC236}">
                    <a16:creationId xmlns:a16="http://schemas.microsoft.com/office/drawing/2014/main" id="{B5090192-DD4B-4F12-A434-EE047B1E1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6463" y="5861050"/>
                <a:ext cx="42863" cy="49213"/>
              </a:xfrm>
              <a:custGeom>
                <a:avLst/>
                <a:gdLst>
                  <a:gd name="T0" fmla="*/ 102 w 138"/>
                  <a:gd name="T1" fmla="*/ 142 h 153"/>
                  <a:gd name="T2" fmla="*/ 136 w 138"/>
                  <a:gd name="T3" fmla="*/ 149 h 153"/>
                  <a:gd name="T4" fmla="*/ 138 w 138"/>
                  <a:gd name="T5" fmla="*/ 106 h 153"/>
                  <a:gd name="T6" fmla="*/ 85 w 138"/>
                  <a:gd name="T7" fmla="*/ 81 h 153"/>
                  <a:gd name="T8" fmla="*/ 73 w 138"/>
                  <a:gd name="T9" fmla="*/ 96 h 153"/>
                  <a:gd name="T10" fmla="*/ 62 w 138"/>
                  <a:gd name="T11" fmla="*/ 63 h 153"/>
                  <a:gd name="T12" fmla="*/ 61 w 138"/>
                  <a:gd name="T13" fmla="*/ 36 h 153"/>
                  <a:gd name="T14" fmla="*/ 57 w 138"/>
                  <a:gd name="T15" fmla="*/ 0 h 153"/>
                  <a:gd name="T16" fmla="*/ 36 w 138"/>
                  <a:gd name="T17" fmla="*/ 58 h 153"/>
                  <a:gd name="T18" fmla="*/ 12 w 138"/>
                  <a:gd name="T19" fmla="*/ 38 h 153"/>
                  <a:gd name="T20" fmla="*/ 0 w 138"/>
                  <a:gd name="T21" fmla="*/ 87 h 153"/>
                  <a:gd name="T22" fmla="*/ 31 w 138"/>
                  <a:gd name="T23" fmla="*/ 116 h 153"/>
                  <a:gd name="T24" fmla="*/ 36 w 138"/>
                  <a:gd name="T25" fmla="*/ 83 h 153"/>
                  <a:gd name="T26" fmla="*/ 53 w 138"/>
                  <a:gd name="T27" fmla="*/ 114 h 153"/>
                  <a:gd name="T28" fmla="*/ 56 w 138"/>
                  <a:gd name="T29" fmla="*/ 138 h 153"/>
                  <a:gd name="T30" fmla="*/ 94 w 138"/>
                  <a:gd name="T31" fmla="*/ 153 h 153"/>
                  <a:gd name="T32" fmla="*/ 102 w 138"/>
                  <a:gd name="T33" fmla="*/ 14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8" h="153">
                    <a:moveTo>
                      <a:pt x="102" y="142"/>
                    </a:moveTo>
                    <a:lnTo>
                      <a:pt x="136" y="149"/>
                    </a:lnTo>
                    <a:lnTo>
                      <a:pt x="138" y="106"/>
                    </a:lnTo>
                    <a:lnTo>
                      <a:pt x="85" y="81"/>
                    </a:lnTo>
                    <a:lnTo>
                      <a:pt x="73" y="96"/>
                    </a:lnTo>
                    <a:lnTo>
                      <a:pt x="62" y="63"/>
                    </a:lnTo>
                    <a:lnTo>
                      <a:pt x="61" y="36"/>
                    </a:lnTo>
                    <a:lnTo>
                      <a:pt x="57" y="0"/>
                    </a:lnTo>
                    <a:lnTo>
                      <a:pt x="36" y="58"/>
                    </a:lnTo>
                    <a:lnTo>
                      <a:pt x="12" y="38"/>
                    </a:lnTo>
                    <a:lnTo>
                      <a:pt x="0" y="87"/>
                    </a:lnTo>
                    <a:lnTo>
                      <a:pt x="31" y="116"/>
                    </a:lnTo>
                    <a:lnTo>
                      <a:pt x="36" y="83"/>
                    </a:lnTo>
                    <a:lnTo>
                      <a:pt x="53" y="114"/>
                    </a:lnTo>
                    <a:lnTo>
                      <a:pt x="56" y="138"/>
                    </a:lnTo>
                    <a:lnTo>
                      <a:pt x="94" y="153"/>
                    </a:lnTo>
                    <a:lnTo>
                      <a:pt x="102" y="14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6" name="Freeform 190">
                <a:extLst>
                  <a:ext uri="{FF2B5EF4-FFF2-40B4-BE49-F238E27FC236}">
                    <a16:creationId xmlns:a16="http://schemas.microsoft.com/office/drawing/2014/main" id="{5750717A-1522-487E-A632-7821727B5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3450" y="5924550"/>
                <a:ext cx="31750" cy="28575"/>
              </a:xfrm>
              <a:custGeom>
                <a:avLst/>
                <a:gdLst>
                  <a:gd name="T0" fmla="*/ 29 w 102"/>
                  <a:gd name="T1" fmla="*/ 23 h 92"/>
                  <a:gd name="T2" fmla="*/ 33 w 102"/>
                  <a:gd name="T3" fmla="*/ 6 h 92"/>
                  <a:gd name="T4" fmla="*/ 6 w 102"/>
                  <a:gd name="T5" fmla="*/ 0 h 92"/>
                  <a:gd name="T6" fmla="*/ 0 w 102"/>
                  <a:gd name="T7" fmla="*/ 35 h 92"/>
                  <a:gd name="T8" fmla="*/ 24 w 102"/>
                  <a:gd name="T9" fmla="*/ 72 h 92"/>
                  <a:gd name="T10" fmla="*/ 53 w 102"/>
                  <a:gd name="T11" fmla="*/ 92 h 92"/>
                  <a:gd name="T12" fmla="*/ 62 w 102"/>
                  <a:gd name="T13" fmla="*/ 68 h 92"/>
                  <a:gd name="T14" fmla="*/ 102 w 102"/>
                  <a:gd name="T15" fmla="*/ 81 h 92"/>
                  <a:gd name="T16" fmla="*/ 76 w 102"/>
                  <a:gd name="T17" fmla="*/ 32 h 92"/>
                  <a:gd name="T18" fmla="*/ 29 w 102"/>
                  <a:gd name="T19" fmla="*/ 2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92">
                    <a:moveTo>
                      <a:pt x="29" y="23"/>
                    </a:moveTo>
                    <a:lnTo>
                      <a:pt x="33" y="6"/>
                    </a:lnTo>
                    <a:lnTo>
                      <a:pt x="6" y="0"/>
                    </a:lnTo>
                    <a:lnTo>
                      <a:pt x="0" y="35"/>
                    </a:lnTo>
                    <a:lnTo>
                      <a:pt x="24" y="72"/>
                    </a:lnTo>
                    <a:lnTo>
                      <a:pt x="53" y="92"/>
                    </a:lnTo>
                    <a:lnTo>
                      <a:pt x="62" y="68"/>
                    </a:lnTo>
                    <a:lnTo>
                      <a:pt x="102" y="81"/>
                    </a:lnTo>
                    <a:lnTo>
                      <a:pt x="76" y="32"/>
                    </a:lnTo>
                    <a:lnTo>
                      <a:pt x="29" y="2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7" name="Freeform 191">
                <a:extLst>
                  <a:ext uri="{FF2B5EF4-FFF2-40B4-BE49-F238E27FC236}">
                    <a16:creationId xmlns:a16="http://schemas.microsoft.com/office/drawing/2014/main" id="{11C8366F-A247-4B32-95EE-832F2FA9E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0150" y="5768975"/>
                <a:ext cx="12700" cy="9525"/>
              </a:xfrm>
              <a:custGeom>
                <a:avLst/>
                <a:gdLst>
                  <a:gd name="T0" fmla="*/ 0 w 40"/>
                  <a:gd name="T1" fmla="*/ 30 h 30"/>
                  <a:gd name="T2" fmla="*/ 40 w 40"/>
                  <a:gd name="T3" fmla="*/ 6 h 30"/>
                  <a:gd name="T4" fmla="*/ 7 w 40"/>
                  <a:gd name="T5" fmla="*/ 0 h 30"/>
                  <a:gd name="T6" fmla="*/ 0 w 40"/>
                  <a:gd name="T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30">
                    <a:moveTo>
                      <a:pt x="0" y="30"/>
                    </a:moveTo>
                    <a:lnTo>
                      <a:pt x="40" y="6"/>
                    </a:lnTo>
                    <a:lnTo>
                      <a:pt x="7" y="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8" name="Freeform 192">
                <a:extLst>
                  <a:ext uri="{FF2B5EF4-FFF2-40B4-BE49-F238E27FC236}">
                    <a16:creationId xmlns:a16="http://schemas.microsoft.com/office/drawing/2014/main" id="{E4864FF5-BE9B-4992-9442-3B5AD2374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200" y="5764213"/>
                <a:ext cx="19050" cy="17463"/>
              </a:xfrm>
              <a:custGeom>
                <a:avLst/>
                <a:gdLst>
                  <a:gd name="T0" fmla="*/ 23 w 60"/>
                  <a:gd name="T1" fmla="*/ 0 h 56"/>
                  <a:gd name="T2" fmla="*/ 0 w 60"/>
                  <a:gd name="T3" fmla="*/ 13 h 56"/>
                  <a:gd name="T4" fmla="*/ 10 w 60"/>
                  <a:gd name="T5" fmla="*/ 36 h 56"/>
                  <a:gd name="T6" fmla="*/ 33 w 60"/>
                  <a:gd name="T7" fmla="*/ 56 h 56"/>
                  <a:gd name="T8" fmla="*/ 60 w 60"/>
                  <a:gd name="T9" fmla="*/ 49 h 56"/>
                  <a:gd name="T10" fmla="*/ 57 w 60"/>
                  <a:gd name="T11" fmla="*/ 26 h 56"/>
                  <a:gd name="T12" fmla="*/ 40 w 60"/>
                  <a:gd name="T13" fmla="*/ 26 h 56"/>
                  <a:gd name="T14" fmla="*/ 23 w 60"/>
                  <a:gd name="T15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56">
                    <a:moveTo>
                      <a:pt x="23" y="0"/>
                    </a:moveTo>
                    <a:lnTo>
                      <a:pt x="0" y="13"/>
                    </a:lnTo>
                    <a:lnTo>
                      <a:pt x="10" y="36"/>
                    </a:lnTo>
                    <a:lnTo>
                      <a:pt x="33" y="56"/>
                    </a:lnTo>
                    <a:lnTo>
                      <a:pt x="60" y="49"/>
                    </a:lnTo>
                    <a:lnTo>
                      <a:pt x="57" y="26"/>
                    </a:lnTo>
                    <a:lnTo>
                      <a:pt x="40" y="26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9" name="Freeform 193">
                <a:extLst>
                  <a:ext uri="{FF2B5EF4-FFF2-40B4-BE49-F238E27FC236}">
                    <a16:creationId xmlns:a16="http://schemas.microsoft.com/office/drawing/2014/main" id="{AF8ACF0C-5547-4EF8-94D7-D2D881F95C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9838" y="5753100"/>
                <a:ext cx="7938" cy="20638"/>
              </a:xfrm>
              <a:custGeom>
                <a:avLst/>
                <a:gdLst>
                  <a:gd name="T0" fmla="*/ 0 w 27"/>
                  <a:gd name="T1" fmla="*/ 53 h 66"/>
                  <a:gd name="T2" fmla="*/ 6 w 27"/>
                  <a:gd name="T3" fmla="*/ 66 h 66"/>
                  <a:gd name="T4" fmla="*/ 27 w 27"/>
                  <a:gd name="T5" fmla="*/ 30 h 66"/>
                  <a:gd name="T6" fmla="*/ 15 w 27"/>
                  <a:gd name="T7" fmla="*/ 0 h 66"/>
                  <a:gd name="T8" fmla="*/ 10 w 27"/>
                  <a:gd name="T9" fmla="*/ 30 h 66"/>
                  <a:gd name="T10" fmla="*/ 0 w 27"/>
                  <a:gd name="T11" fmla="*/ 5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66">
                    <a:moveTo>
                      <a:pt x="0" y="53"/>
                    </a:moveTo>
                    <a:lnTo>
                      <a:pt x="6" y="66"/>
                    </a:lnTo>
                    <a:lnTo>
                      <a:pt x="27" y="30"/>
                    </a:lnTo>
                    <a:lnTo>
                      <a:pt x="15" y="0"/>
                    </a:lnTo>
                    <a:lnTo>
                      <a:pt x="10" y="30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0" name="Freeform 194">
                <a:extLst>
                  <a:ext uri="{FF2B5EF4-FFF2-40B4-BE49-F238E27FC236}">
                    <a16:creationId xmlns:a16="http://schemas.microsoft.com/office/drawing/2014/main" id="{35BFEDCF-2EB4-4BBB-8689-A4CFE7ED5F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288" y="5794375"/>
                <a:ext cx="163513" cy="131763"/>
              </a:xfrm>
              <a:custGeom>
                <a:avLst/>
                <a:gdLst>
                  <a:gd name="T0" fmla="*/ 311 w 512"/>
                  <a:gd name="T1" fmla="*/ 251 h 411"/>
                  <a:gd name="T2" fmla="*/ 352 w 512"/>
                  <a:gd name="T3" fmla="*/ 276 h 411"/>
                  <a:gd name="T4" fmla="*/ 349 w 512"/>
                  <a:gd name="T5" fmla="*/ 310 h 411"/>
                  <a:gd name="T6" fmla="*/ 399 w 512"/>
                  <a:gd name="T7" fmla="*/ 335 h 411"/>
                  <a:gd name="T8" fmla="*/ 406 w 512"/>
                  <a:gd name="T9" fmla="*/ 375 h 411"/>
                  <a:gd name="T10" fmla="*/ 429 w 512"/>
                  <a:gd name="T11" fmla="*/ 399 h 411"/>
                  <a:gd name="T12" fmla="*/ 476 w 512"/>
                  <a:gd name="T13" fmla="*/ 411 h 411"/>
                  <a:gd name="T14" fmla="*/ 510 w 512"/>
                  <a:gd name="T15" fmla="*/ 381 h 411"/>
                  <a:gd name="T16" fmla="*/ 512 w 512"/>
                  <a:gd name="T17" fmla="*/ 312 h 411"/>
                  <a:gd name="T18" fmla="*/ 458 w 512"/>
                  <a:gd name="T19" fmla="*/ 302 h 411"/>
                  <a:gd name="T20" fmla="*/ 426 w 512"/>
                  <a:gd name="T21" fmla="*/ 292 h 411"/>
                  <a:gd name="T22" fmla="*/ 385 w 512"/>
                  <a:gd name="T23" fmla="*/ 263 h 411"/>
                  <a:gd name="T24" fmla="*/ 368 w 512"/>
                  <a:gd name="T25" fmla="*/ 240 h 411"/>
                  <a:gd name="T26" fmla="*/ 375 w 512"/>
                  <a:gd name="T27" fmla="*/ 209 h 411"/>
                  <a:gd name="T28" fmla="*/ 358 w 512"/>
                  <a:gd name="T29" fmla="*/ 191 h 411"/>
                  <a:gd name="T30" fmla="*/ 358 w 512"/>
                  <a:gd name="T31" fmla="*/ 154 h 411"/>
                  <a:gd name="T32" fmla="*/ 350 w 512"/>
                  <a:gd name="T33" fmla="*/ 137 h 411"/>
                  <a:gd name="T34" fmla="*/ 261 w 512"/>
                  <a:gd name="T35" fmla="*/ 138 h 411"/>
                  <a:gd name="T36" fmla="*/ 241 w 512"/>
                  <a:gd name="T37" fmla="*/ 115 h 411"/>
                  <a:gd name="T38" fmla="*/ 187 w 512"/>
                  <a:gd name="T39" fmla="*/ 99 h 411"/>
                  <a:gd name="T40" fmla="*/ 160 w 512"/>
                  <a:gd name="T41" fmla="*/ 56 h 411"/>
                  <a:gd name="T42" fmla="*/ 126 w 512"/>
                  <a:gd name="T43" fmla="*/ 10 h 411"/>
                  <a:gd name="T44" fmla="*/ 76 w 512"/>
                  <a:gd name="T45" fmla="*/ 0 h 411"/>
                  <a:gd name="T46" fmla="*/ 53 w 512"/>
                  <a:gd name="T47" fmla="*/ 27 h 411"/>
                  <a:gd name="T48" fmla="*/ 29 w 512"/>
                  <a:gd name="T49" fmla="*/ 30 h 411"/>
                  <a:gd name="T50" fmla="*/ 0 w 512"/>
                  <a:gd name="T51" fmla="*/ 63 h 411"/>
                  <a:gd name="T52" fmla="*/ 40 w 512"/>
                  <a:gd name="T53" fmla="*/ 53 h 411"/>
                  <a:gd name="T54" fmla="*/ 54 w 512"/>
                  <a:gd name="T55" fmla="*/ 47 h 411"/>
                  <a:gd name="T56" fmla="*/ 54 w 512"/>
                  <a:gd name="T57" fmla="*/ 60 h 411"/>
                  <a:gd name="T58" fmla="*/ 157 w 512"/>
                  <a:gd name="T59" fmla="*/ 126 h 411"/>
                  <a:gd name="T60" fmla="*/ 187 w 512"/>
                  <a:gd name="T61" fmla="*/ 155 h 411"/>
                  <a:gd name="T62" fmla="*/ 184 w 512"/>
                  <a:gd name="T63" fmla="*/ 192 h 411"/>
                  <a:gd name="T64" fmla="*/ 198 w 512"/>
                  <a:gd name="T65" fmla="*/ 215 h 411"/>
                  <a:gd name="T66" fmla="*/ 298 w 512"/>
                  <a:gd name="T67" fmla="*/ 224 h 411"/>
                  <a:gd name="T68" fmla="*/ 311 w 512"/>
                  <a:gd name="T69" fmla="*/ 25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2" h="411">
                    <a:moveTo>
                      <a:pt x="311" y="251"/>
                    </a:moveTo>
                    <a:lnTo>
                      <a:pt x="352" y="276"/>
                    </a:lnTo>
                    <a:lnTo>
                      <a:pt x="349" y="310"/>
                    </a:lnTo>
                    <a:lnTo>
                      <a:pt x="399" y="335"/>
                    </a:lnTo>
                    <a:lnTo>
                      <a:pt x="406" y="375"/>
                    </a:lnTo>
                    <a:lnTo>
                      <a:pt x="429" y="399"/>
                    </a:lnTo>
                    <a:lnTo>
                      <a:pt x="476" y="411"/>
                    </a:lnTo>
                    <a:lnTo>
                      <a:pt x="510" y="381"/>
                    </a:lnTo>
                    <a:lnTo>
                      <a:pt x="512" y="312"/>
                    </a:lnTo>
                    <a:lnTo>
                      <a:pt x="458" y="302"/>
                    </a:lnTo>
                    <a:lnTo>
                      <a:pt x="426" y="292"/>
                    </a:lnTo>
                    <a:lnTo>
                      <a:pt x="385" y="263"/>
                    </a:lnTo>
                    <a:lnTo>
                      <a:pt x="368" y="240"/>
                    </a:lnTo>
                    <a:lnTo>
                      <a:pt x="375" y="209"/>
                    </a:lnTo>
                    <a:lnTo>
                      <a:pt x="358" y="191"/>
                    </a:lnTo>
                    <a:lnTo>
                      <a:pt x="358" y="154"/>
                    </a:lnTo>
                    <a:lnTo>
                      <a:pt x="350" y="137"/>
                    </a:lnTo>
                    <a:lnTo>
                      <a:pt x="261" y="138"/>
                    </a:lnTo>
                    <a:lnTo>
                      <a:pt x="241" y="115"/>
                    </a:lnTo>
                    <a:lnTo>
                      <a:pt x="187" y="99"/>
                    </a:lnTo>
                    <a:lnTo>
                      <a:pt x="160" y="56"/>
                    </a:lnTo>
                    <a:lnTo>
                      <a:pt x="126" y="10"/>
                    </a:lnTo>
                    <a:lnTo>
                      <a:pt x="76" y="0"/>
                    </a:lnTo>
                    <a:lnTo>
                      <a:pt x="53" y="27"/>
                    </a:lnTo>
                    <a:lnTo>
                      <a:pt x="29" y="30"/>
                    </a:lnTo>
                    <a:lnTo>
                      <a:pt x="0" y="63"/>
                    </a:lnTo>
                    <a:lnTo>
                      <a:pt x="40" y="53"/>
                    </a:lnTo>
                    <a:lnTo>
                      <a:pt x="54" y="47"/>
                    </a:lnTo>
                    <a:lnTo>
                      <a:pt x="54" y="60"/>
                    </a:lnTo>
                    <a:lnTo>
                      <a:pt x="157" y="126"/>
                    </a:lnTo>
                    <a:lnTo>
                      <a:pt x="187" y="155"/>
                    </a:lnTo>
                    <a:lnTo>
                      <a:pt x="184" y="192"/>
                    </a:lnTo>
                    <a:lnTo>
                      <a:pt x="198" y="215"/>
                    </a:lnTo>
                    <a:lnTo>
                      <a:pt x="298" y="224"/>
                    </a:lnTo>
                    <a:lnTo>
                      <a:pt x="311" y="25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1" name="Freeform 195">
                <a:extLst>
                  <a:ext uri="{FF2B5EF4-FFF2-40B4-BE49-F238E27FC236}">
                    <a16:creationId xmlns:a16="http://schemas.microsoft.com/office/drawing/2014/main" id="{A62FCEAB-441D-4211-9A60-F7ED01B68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3813" y="5797550"/>
                <a:ext cx="31750" cy="30163"/>
              </a:xfrm>
              <a:custGeom>
                <a:avLst/>
                <a:gdLst>
                  <a:gd name="T0" fmla="*/ 68 w 102"/>
                  <a:gd name="T1" fmla="*/ 92 h 92"/>
                  <a:gd name="T2" fmla="*/ 102 w 102"/>
                  <a:gd name="T3" fmla="*/ 72 h 92"/>
                  <a:gd name="T4" fmla="*/ 94 w 102"/>
                  <a:gd name="T5" fmla="*/ 52 h 92"/>
                  <a:gd name="T6" fmla="*/ 60 w 102"/>
                  <a:gd name="T7" fmla="*/ 32 h 92"/>
                  <a:gd name="T8" fmla="*/ 44 w 102"/>
                  <a:gd name="T9" fmla="*/ 0 h 92"/>
                  <a:gd name="T10" fmla="*/ 10 w 102"/>
                  <a:gd name="T11" fmla="*/ 0 h 92"/>
                  <a:gd name="T12" fmla="*/ 0 w 102"/>
                  <a:gd name="T13" fmla="*/ 20 h 92"/>
                  <a:gd name="T14" fmla="*/ 8 w 102"/>
                  <a:gd name="T15" fmla="*/ 43 h 92"/>
                  <a:gd name="T16" fmla="*/ 55 w 102"/>
                  <a:gd name="T17" fmla="*/ 56 h 92"/>
                  <a:gd name="T18" fmla="*/ 45 w 102"/>
                  <a:gd name="T19" fmla="*/ 79 h 92"/>
                  <a:gd name="T20" fmla="*/ 68 w 102"/>
                  <a:gd name="T21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2" h="92">
                    <a:moveTo>
                      <a:pt x="68" y="92"/>
                    </a:moveTo>
                    <a:lnTo>
                      <a:pt x="102" y="72"/>
                    </a:lnTo>
                    <a:lnTo>
                      <a:pt x="94" y="52"/>
                    </a:lnTo>
                    <a:lnTo>
                      <a:pt x="60" y="32"/>
                    </a:lnTo>
                    <a:lnTo>
                      <a:pt x="44" y="0"/>
                    </a:lnTo>
                    <a:lnTo>
                      <a:pt x="10" y="0"/>
                    </a:lnTo>
                    <a:lnTo>
                      <a:pt x="0" y="20"/>
                    </a:lnTo>
                    <a:lnTo>
                      <a:pt x="8" y="43"/>
                    </a:lnTo>
                    <a:lnTo>
                      <a:pt x="55" y="56"/>
                    </a:lnTo>
                    <a:lnTo>
                      <a:pt x="45" y="79"/>
                    </a:lnTo>
                    <a:lnTo>
                      <a:pt x="68" y="9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2" name="Freeform 196">
                <a:extLst>
                  <a:ext uri="{FF2B5EF4-FFF2-40B4-BE49-F238E27FC236}">
                    <a16:creationId xmlns:a16="http://schemas.microsoft.com/office/drawing/2014/main" id="{2E3FCA16-85A2-4CA2-86F8-57A3417C4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4725" y="5881688"/>
                <a:ext cx="238125" cy="234950"/>
              </a:xfrm>
              <a:custGeom>
                <a:avLst/>
                <a:gdLst>
                  <a:gd name="T0" fmla="*/ 751 w 751"/>
                  <a:gd name="T1" fmla="*/ 287 h 738"/>
                  <a:gd name="T2" fmla="*/ 734 w 751"/>
                  <a:gd name="T3" fmla="*/ 244 h 738"/>
                  <a:gd name="T4" fmla="*/ 691 w 751"/>
                  <a:gd name="T5" fmla="*/ 232 h 738"/>
                  <a:gd name="T6" fmla="*/ 688 w 751"/>
                  <a:gd name="T7" fmla="*/ 267 h 738"/>
                  <a:gd name="T8" fmla="*/ 644 w 751"/>
                  <a:gd name="T9" fmla="*/ 208 h 738"/>
                  <a:gd name="T10" fmla="*/ 634 w 751"/>
                  <a:gd name="T11" fmla="*/ 178 h 738"/>
                  <a:gd name="T12" fmla="*/ 593 w 751"/>
                  <a:gd name="T13" fmla="*/ 123 h 738"/>
                  <a:gd name="T14" fmla="*/ 530 w 751"/>
                  <a:gd name="T15" fmla="*/ 127 h 738"/>
                  <a:gd name="T16" fmla="*/ 413 w 751"/>
                  <a:gd name="T17" fmla="*/ 85 h 738"/>
                  <a:gd name="T18" fmla="*/ 256 w 751"/>
                  <a:gd name="T19" fmla="*/ 0 h 738"/>
                  <a:gd name="T20" fmla="*/ 186 w 751"/>
                  <a:gd name="T21" fmla="*/ 53 h 738"/>
                  <a:gd name="T22" fmla="*/ 93 w 751"/>
                  <a:gd name="T23" fmla="*/ 1 h 738"/>
                  <a:gd name="T24" fmla="*/ 96 w 751"/>
                  <a:gd name="T25" fmla="*/ 63 h 738"/>
                  <a:gd name="T26" fmla="*/ 0 w 751"/>
                  <a:gd name="T27" fmla="*/ 135 h 738"/>
                  <a:gd name="T28" fmla="*/ 41 w 751"/>
                  <a:gd name="T29" fmla="*/ 187 h 738"/>
                  <a:gd name="T30" fmla="*/ 85 w 751"/>
                  <a:gd name="T31" fmla="*/ 246 h 738"/>
                  <a:gd name="T32" fmla="*/ 178 w 751"/>
                  <a:gd name="T33" fmla="*/ 339 h 738"/>
                  <a:gd name="T34" fmla="*/ 163 w 751"/>
                  <a:gd name="T35" fmla="*/ 442 h 738"/>
                  <a:gd name="T36" fmla="*/ 201 w 751"/>
                  <a:gd name="T37" fmla="*/ 574 h 738"/>
                  <a:gd name="T38" fmla="*/ 244 w 751"/>
                  <a:gd name="T39" fmla="*/ 587 h 738"/>
                  <a:gd name="T40" fmla="*/ 303 w 751"/>
                  <a:gd name="T41" fmla="*/ 477 h 738"/>
                  <a:gd name="T42" fmla="*/ 343 w 751"/>
                  <a:gd name="T43" fmla="*/ 527 h 738"/>
                  <a:gd name="T44" fmla="*/ 375 w 751"/>
                  <a:gd name="T45" fmla="*/ 566 h 738"/>
                  <a:gd name="T46" fmla="*/ 416 w 751"/>
                  <a:gd name="T47" fmla="*/ 729 h 738"/>
                  <a:gd name="T48" fmla="*/ 446 w 751"/>
                  <a:gd name="T49" fmla="*/ 738 h 738"/>
                  <a:gd name="T50" fmla="*/ 468 w 751"/>
                  <a:gd name="T51" fmla="*/ 588 h 738"/>
                  <a:gd name="T52" fmla="*/ 548 w 751"/>
                  <a:gd name="T53" fmla="*/ 634 h 738"/>
                  <a:gd name="T54" fmla="*/ 568 w 751"/>
                  <a:gd name="T55" fmla="*/ 704 h 738"/>
                  <a:gd name="T56" fmla="*/ 592 w 751"/>
                  <a:gd name="T57" fmla="*/ 671 h 738"/>
                  <a:gd name="T58" fmla="*/ 639 w 751"/>
                  <a:gd name="T59" fmla="*/ 723 h 738"/>
                  <a:gd name="T60" fmla="*/ 625 w 751"/>
                  <a:gd name="T61" fmla="*/ 666 h 738"/>
                  <a:gd name="T62" fmla="*/ 602 w 751"/>
                  <a:gd name="T63" fmla="*/ 614 h 738"/>
                  <a:gd name="T64" fmla="*/ 611 w 751"/>
                  <a:gd name="T65" fmla="*/ 510 h 738"/>
                  <a:gd name="T66" fmla="*/ 566 w 751"/>
                  <a:gd name="T67" fmla="*/ 421 h 738"/>
                  <a:gd name="T68" fmla="*/ 545 w 751"/>
                  <a:gd name="T69" fmla="*/ 329 h 738"/>
                  <a:gd name="T70" fmla="*/ 588 w 751"/>
                  <a:gd name="T71" fmla="*/ 302 h 738"/>
                  <a:gd name="T72" fmla="*/ 645 w 751"/>
                  <a:gd name="T73" fmla="*/ 341 h 738"/>
                  <a:gd name="T74" fmla="*/ 643 w 751"/>
                  <a:gd name="T75" fmla="*/ 388 h 738"/>
                  <a:gd name="T76" fmla="*/ 679 w 751"/>
                  <a:gd name="T77" fmla="*/ 361 h 738"/>
                  <a:gd name="T78" fmla="*/ 719 w 751"/>
                  <a:gd name="T79" fmla="*/ 341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51" h="738">
                    <a:moveTo>
                      <a:pt x="746" y="307"/>
                    </a:moveTo>
                    <a:lnTo>
                      <a:pt x="751" y="287"/>
                    </a:lnTo>
                    <a:lnTo>
                      <a:pt x="738" y="284"/>
                    </a:lnTo>
                    <a:lnTo>
                      <a:pt x="734" y="244"/>
                    </a:lnTo>
                    <a:lnTo>
                      <a:pt x="708" y="224"/>
                    </a:lnTo>
                    <a:lnTo>
                      <a:pt x="691" y="232"/>
                    </a:lnTo>
                    <a:lnTo>
                      <a:pt x="704" y="271"/>
                    </a:lnTo>
                    <a:lnTo>
                      <a:pt x="688" y="267"/>
                    </a:lnTo>
                    <a:lnTo>
                      <a:pt x="658" y="255"/>
                    </a:lnTo>
                    <a:lnTo>
                      <a:pt x="644" y="208"/>
                    </a:lnTo>
                    <a:lnTo>
                      <a:pt x="614" y="202"/>
                    </a:lnTo>
                    <a:lnTo>
                      <a:pt x="634" y="178"/>
                    </a:lnTo>
                    <a:lnTo>
                      <a:pt x="604" y="166"/>
                    </a:lnTo>
                    <a:lnTo>
                      <a:pt x="593" y="123"/>
                    </a:lnTo>
                    <a:lnTo>
                      <a:pt x="554" y="129"/>
                    </a:lnTo>
                    <a:lnTo>
                      <a:pt x="530" y="127"/>
                    </a:lnTo>
                    <a:lnTo>
                      <a:pt x="489" y="84"/>
                    </a:lnTo>
                    <a:lnTo>
                      <a:pt x="413" y="85"/>
                    </a:lnTo>
                    <a:lnTo>
                      <a:pt x="337" y="59"/>
                    </a:lnTo>
                    <a:lnTo>
                      <a:pt x="256" y="0"/>
                    </a:lnTo>
                    <a:lnTo>
                      <a:pt x="206" y="20"/>
                    </a:lnTo>
                    <a:lnTo>
                      <a:pt x="186" y="53"/>
                    </a:lnTo>
                    <a:lnTo>
                      <a:pt x="139" y="50"/>
                    </a:lnTo>
                    <a:lnTo>
                      <a:pt x="93" y="1"/>
                    </a:lnTo>
                    <a:lnTo>
                      <a:pt x="89" y="14"/>
                    </a:lnTo>
                    <a:lnTo>
                      <a:pt x="96" y="63"/>
                    </a:lnTo>
                    <a:lnTo>
                      <a:pt x="30" y="135"/>
                    </a:lnTo>
                    <a:lnTo>
                      <a:pt x="0" y="135"/>
                    </a:lnTo>
                    <a:lnTo>
                      <a:pt x="1" y="178"/>
                    </a:lnTo>
                    <a:lnTo>
                      <a:pt x="41" y="187"/>
                    </a:lnTo>
                    <a:lnTo>
                      <a:pt x="65" y="263"/>
                    </a:lnTo>
                    <a:lnTo>
                      <a:pt x="85" y="246"/>
                    </a:lnTo>
                    <a:lnTo>
                      <a:pt x="128" y="263"/>
                    </a:lnTo>
                    <a:lnTo>
                      <a:pt x="178" y="339"/>
                    </a:lnTo>
                    <a:lnTo>
                      <a:pt x="193" y="409"/>
                    </a:lnTo>
                    <a:lnTo>
                      <a:pt x="163" y="442"/>
                    </a:lnTo>
                    <a:lnTo>
                      <a:pt x="167" y="511"/>
                    </a:lnTo>
                    <a:lnTo>
                      <a:pt x="201" y="574"/>
                    </a:lnTo>
                    <a:lnTo>
                      <a:pt x="227" y="560"/>
                    </a:lnTo>
                    <a:lnTo>
                      <a:pt x="244" y="587"/>
                    </a:lnTo>
                    <a:lnTo>
                      <a:pt x="261" y="500"/>
                    </a:lnTo>
                    <a:lnTo>
                      <a:pt x="303" y="477"/>
                    </a:lnTo>
                    <a:lnTo>
                      <a:pt x="311" y="524"/>
                    </a:lnTo>
                    <a:lnTo>
                      <a:pt x="343" y="527"/>
                    </a:lnTo>
                    <a:lnTo>
                      <a:pt x="351" y="553"/>
                    </a:lnTo>
                    <a:lnTo>
                      <a:pt x="375" y="566"/>
                    </a:lnTo>
                    <a:lnTo>
                      <a:pt x="399" y="688"/>
                    </a:lnTo>
                    <a:lnTo>
                      <a:pt x="416" y="729"/>
                    </a:lnTo>
                    <a:lnTo>
                      <a:pt x="432" y="719"/>
                    </a:lnTo>
                    <a:lnTo>
                      <a:pt x="446" y="738"/>
                    </a:lnTo>
                    <a:lnTo>
                      <a:pt x="435" y="672"/>
                    </a:lnTo>
                    <a:lnTo>
                      <a:pt x="468" y="588"/>
                    </a:lnTo>
                    <a:lnTo>
                      <a:pt x="514" y="572"/>
                    </a:lnTo>
                    <a:lnTo>
                      <a:pt x="548" y="634"/>
                    </a:lnTo>
                    <a:lnTo>
                      <a:pt x="572" y="687"/>
                    </a:lnTo>
                    <a:lnTo>
                      <a:pt x="568" y="704"/>
                    </a:lnTo>
                    <a:lnTo>
                      <a:pt x="598" y="703"/>
                    </a:lnTo>
                    <a:lnTo>
                      <a:pt x="592" y="671"/>
                    </a:lnTo>
                    <a:lnTo>
                      <a:pt x="615" y="676"/>
                    </a:lnTo>
                    <a:lnTo>
                      <a:pt x="639" y="723"/>
                    </a:lnTo>
                    <a:lnTo>
                      <a:pt x="675" y="703"/>
                    </a:lnTo>
                    <a:lnTo>
                      <a:pt x="625" y="666"/>
                    </a:lnTo>
                    <a:lnTo>
                      <a:pt x="635" y="643"/>
                    </a:lnTo>
                    <a:lnTo>
                      <a:pt x="602" y="614"/>
                    </a:lnTo>
                    <a:lnTo>
                      <a:pt x="617" y="567"/>
                    </a:lnTo>
                    <a:lnTo>
                      <a:pt x="611" y="510"/>
                    </a:lnTo>
                    <a:lnTo>
                      <a:pt x="596" y="465"/>
                    </a:lnTo>
                    <a:lnTo>
                      <a:pt x="566" y="421"/>
                    </a:lnTo>
                    <a:lnTo>
                      <a:pt x="573" y="362"/>
                    </a:lnTo>
                    <a:lnTo>
                      <a:pt x="545" y="329"/>
                    </a:lnTo>
                    <a:lnTo>
                      <a:pt x="548" y="309"/>
                    </a:lnTo>
                    <a:lnTo>
                      <a:pt x="588" y="302"/>
                    </a:lnTo>
                    <a:lnTo>
                      <a:pt x="592" y="322"/>
                    </a:lnTo>
                    <a:lnTo>
                      <a:pt x="645" y="341"/>
                    </a:lnTo>
                    <a:lnTo>
                      <a:pt x="619" y="351"/>
                    </a:lnTo>
                    <a:lnTo>
                      <a:pt x="643" y="388"/>
                    </a:lnTo>
                    <a:lnTo>
                      <a:pt x="652" y="388"/>
                    </a:lnTo>
                    <a:lnTo>
                      <a:pt x="679" y="361"/>
                    </a:lnTo>
                    <a:lnTo>
                      <a:pt x="692" y="338"/>
                    </a:lnTo>
                    <a:lnTo>
                      <a:pt x="719" y="341"/>
                    </a:lnTo>
                    <a:lnTo>
                      <a:pt x="746" y="30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3" name="Freeform 197">
                <a:extLst>
                  <a:ext uri="{FF2B5EF4-FFF2-40B4-BE49-F238E27FC236}">
                    <a16:creationId xmlns:a16="http://schemas.microsoft.com/office/drawing/2014/main" id="{4FC18492-77B9-40B3-916A-813892EB6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6115050"/>
                <a:ext cx="20638" cy="33338"/>
              </a:xfrm>
              <a:custGeom>
                <a:avLst/>
                <a:gdLst>
                  <a:gd name="T0" fmla="*/ 47 w 64"/>
                  <a:gd name="T1" fmla="*/ 10 h 106"/>
                  <a:gd name="T2" fmla="*/ 10 w 64"/>
                  <a:gd name="T3" fmla="*/ 0 h 106"/>
                  <a:gd name="T4" fmla="*/ 0 w 64"/>
                  <a:gd name="T5" fmla="*/ 41 h 106"/>
                  <a:gd name="T6" fmla="*/ 14 w 64"/>
                  <a:gd name="T7" fmla="*/ 101 h 106"/>
                  <a:gd name="T8" fmla="*/ 50 w 64"/>
                  <a:gd name="T9" fmla="*/ 106 h 106"/>
                  <a:gd name="T10" fmla="*/ 60 w 64"/>
                  <a:gd name="T11" fmla="*/ 83 h 106"/>
                  <a:gd name="T12" fmla="*/ 47 w 64"/>
                  <a:gd name="T13" fmla="*/ 47 h 106"/>
                  <a:gd name="T14" fmla="*/ 64 w 64"/>
                  <a:gd name="T15" fmla="*/ 44 h 106"/>
                  <a:gd name="T16" fmla="*/ 47 w 64"/>
                  <a:gd name="T17" fmla="*/ 1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106">
                    <a:moveTo>
                      <a:pt x="47" y="10"/>
                    </a:moveTo>
                    <a:lnTo>
                      <a:pt x="10" y="0"/>
                    </a:lnTo>
                    <a:lnTo>
                      <a:pt x="0" y="41"/>
                    </a:lnTo>
                    <a:lnTo>
                      <a:pt x="14" y="101"/>
                    </a:lnTo>
                    <a:lnTo>
                      <a:pt x="50" y="106"/>
                    </a:lnTo>
                    <a:lnTo>
                      <a:pt x="60" y="83"/>
                    </a:lnTo>
                    <a:lnTo>
                      <a:pt x="47" y="47"/>
                    </a:lnTo>
                    <a:lnTo>
                      <a:pt x="64" y="44"/>
                    </a:lnTo>
                    <a:lnTo>
                      <a:pt x="47" y="1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4" name="Freeform 198">
                <a:extLst>
                  <a:ext uri="{FF2B5EF4-FFF2-40B4-BE49-F238E27FC236}">
                    <a16:creationId xmlns:a16="http://schemas.microsoft.com/office/drawing/2014/main" id="{28803278-1F0A-4580-80B2-54408F22D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1400" y="6064250"/>
                <a:ext cx="6350" cy="12700"/>
              </a:xfrm>
              <a:custGeom>
                <a:avLst/>
                <a:gdLst>
                  <a:gd name="T0" fmla="*/ 0 w 18"/>
                  <a:gd name="T1" fmla="*/ 13 h 43"/>
                  <a:gd name="T2" fmla="*/ 18 w 18"/>
                  <a:gd name="T3" fmla="*/ 43 h 43"/>
                  <a:gd name="T4" fmla="*/ 13 w 18"/>
                  <a:gd name="T5" fmla="*/ 0 h 43"/>
                  <a:gd name="T6" fmla="*/ 0 w 18"/>
                  <a:gd name="T7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3">
                    <a:moveTo>
                      <a:pt x="0" y="13"/>
                    </a:moveTo>
                    <a:lnTo>
                      <a:pt x="18" y="43"/>
                    </a:lnTo>
                    <a:lnTo>
                      <a:pt x="13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5" name="Freeform 199">
                <a:extLst>
                  <a:ext uri="{FF2B5EF4-FFF2-40B4-BE49-F238E27FC236}">
                    <a16:creationId xmlns:a16="http://schemas.microsoft.com/office/drawing/2014/main" id="{B0382C5B-88E6-42D9-8C69-1F77F233B5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8563" y="5988050"/>
                <a:ext cx="17463" cy="11113"/>
              </a:xfrm>
              <a:custGeom>
                <a:avLst/>
                <a:gdLst>
                  <a:gd name="T0" fmla="*/ 51 w 57"/>
                  <a:gd name="T1" fmla="*/ 0 h 37"/>
                  <a:gd name="T2" fmla="*/ 14 w 57"/>
                  <a:gd name="T3" fmla="*/ 21 h 37"/>
                  <a:gd name="T4" fmla="*/ 0 w 57"/>
                  <a:gd name="T5" fmla="*/ 31 h 37"/>
                  <a:gd name="T6" fmla="*/ 24 w 57"/>
                  <a:gd name="T7" fmla="*/ 37 h 37"/>
                  <a:gd name="T8" fmla="*/ 57 w 57"/>
                  <a:gd name="T9" fmla="*/ 17 h 37"/>
                  <a:gd name="T10" fmla="*/ 51 w 57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37">
                    <a:moveTo>
                      <a:pt x="51" y="0"/>
                    </a:moveTo>
                    <a:lnTo>
                      <a:pt x="14" y="21"/>
                    </a:lnTo>
                    <a:lnTo>
                      <a:pt x="0" y="31"/>
                    </a:lnTo>
                    <a:lnTo>
                      <a:pt x="24" y="37"/>
                    </a:lnTo>
                    <a:lnTo>
                      <a:pt x="57" y="17"/>
                    </a:lnTo>
                    <a:lnTo>
                      <a:pt x="51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6" name="Freeform 200">
                <a:extLst>
                  <a:ext uri="{FF2B5EF4-FFF2-40B4-BE49-F238E27FC236}">
                    <a16:creationId xmlns:a16="http://schemas.microsoft.com/office/drawing/2014/main" id="{1F860ADE-0E5F-4148-A16E-35A1708E7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6005513"/>
                <a:ext cx="7938" cy="9525"/>
              </a:xfrm>
              <a:custGeom>
                <a:avLst/>
                <a:gdLst>
                  <a:gd name="T0" fmla="*/ 4 w 24"/>
                  <a:gd name="T1" fmla="*/ 27 h 27"/>
                  <a:gd name="T2" fmla="*/ 24 w 24"/>
                  <a:gd name="T3" fmla="*/ 10 h 27"/>
                  <a:gd name="T4" fmla="*/ 0 w 24"/>
                  <a:gd name="T5" fmla="*/ 0 h 27"/>
                  <a:gd name="T6" fmla="*/ 4 w 24"/>
                  <a:gd name="T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27">
                    <a:moveTo>
                      <a:pt x="4" y="27"/>
                    </a:moveTo>
                    <a:lnTo>
                      <a:pt x="24" y="10"/>
                    </a:lnTo>
                    <a:lnTo>
                      <a:pt x="0" y="0"/>
                    </a:lnTo>
                    <a:lnTo>
                      <a:pt x="4" y="2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7" name="Freeform 201">
                <a:extLst>
                  <a:ext uri="{FF2B5EF4-FFF2-40B4-BE49-F238E27FC236}">
                    <a16:creationId xmlns:a16="http://schemas.microsoft.com/office/drawing/2014/main" id="{979CF553-8A38-44BF-B22E-46736FBF1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588" y="5951538"/>
                <a:ext cx="12700" cy="11113"/>
              </a:xfrm>
              <a:custGeom>
                <a:avLst/>
                <a:gdLst>
                  <a:gd name="T0" fmla="*/ 7 w 36"/>
                  <a:gd name="T1" fmla="*/ 37 h 37"/>
                  <a:gd name="T2" fmla="*/ 36 w 36"/>
                  <a:gd name="T3" fmla="*/ 10 h 37"/>
                  <a:gd name="T4" fmla="*/ 16 w 36"/>
                  <a:gd name="T5" fmla="*/ 0 h 37"/>
                  <a:gd name="T6" fmla="*/ 0 w 36"/>
                  <a:gd name="T7" fmla="*/ 27 h 37"/>
                  <a:gd name="T8" fmla="*/ 7 w 3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7" y="37"/>
                    </a:moveTo>
                    <a:lnTo>
                      <a:pt x="36" y="10"/>
                    </a:lnTo>
                    <a:lnTo>
                      <a:pt x="16" y="0"/>
                    </a:lnTo>
                    <a:lnTo>
                      <a:pt x="0" y="27"/>
                    </a:lnTo>
                    <a:lnTo>
                      <a:pt x="7" y="3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8" name="Freeform 202">
                <a:extLst>
                  <a:ext uri="{FF2B5EF4-FFF2-40B4-BE49-F238E27FC236}">
                    <a16:creationId xmlns:a16="http://schemas.microsoft.com/office/drawing/2014/main" id="{20D6AA69-6054-4774-86CF-1AEFEC5231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3813" y="5957888"/>
                <a:ext cx="14288" cy="22225"/>
              </a:xfrm>
              <a:custGeom>
                <a:avLst/>
                <a:gdLst>
                  <a:gd name="T0" fmla="*/ 20 w 42"/>
                  <a:gd name="T1" fmla="*/ 0 h 69"/>
                  <a:gd name="T2" fmla="*/ 0 w 42"/>
                  <a:gd name="T3" fmla="*/ 13 h 69"/>
                  <a:gd name="T4" fmla="*/ 15 w 42"/>
                  <a:gd name="T5" fmla="*/ 36 h 69"/>
                  <a:gd name="T6" fmla="*/ 15 w 42"/>
                  <a:gd name="T7" fmla="*/ 69 h 69"/>
                  <a:gd name="T8" fmla="*/ 42 w 42"/>
                  <a:gd name="T9" fmla="*/ 45 h 69"/>
                  <a:gd name="T10" fmla="*/ 41 w 42"/>
                  <a:gd name="T11" fmla="*/ 22 h 69"/>
                  <a:gd name="T12" fmla="*/ 20 w 42"/>
                  <a:gd name="T1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69">
                    <a:moveTo>
                      <a:pt x="20" y="0"/>
                    </a:moveTo>
                    <a:lnTo>
                      <a:pt x="0" y="13"/>
                    </a:lnTo>
                    <a:lnTo>
                      <a:pt x="15" y="36"/>
                    </a:lnTo>
                    <a:lnTo>
                      <a:pt x="15" y="69"/>
                    </a:lnTo>
                    <a:lnTo>
                      <a:pt x="42" y="45"/>
                    </a:lnTo>
                    <a:lnTo>
                      <a:pt x="41" y="2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69" name="Freeform 203">
                <a:extLst>
                  <a:ext uri="{FF2B5EF4-FFF2-40B4-BE49-F238E27FC236}">
                    <a16:creationId xmlns:a16="http://schemas.microsoft.com/office/drawing/2014/main" id="{FC144B33-DA9C-4D1F-BAC9-746D8FC6C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5991225"/>
                <a:ext cx="9525" cy="19050"/>
              </a:xfrm>
              <a:custGeom>
                <a:avLst/>
                <a:gdLst>
                  <a:gd name="T0" fmla="*/ 11 w 30"/>
                  <a:gd name="T1" fmla="*/ 60 h 60"/>
                  <a:gd name="T2" fmla="*/ 27 w 30"/>
                  <a:gd name="T3" fmla="*/ 40 h 60"/>
                  <a:gd name="T4" fmla="*/ 30 w 30"/>
                  <a:gd name="T5" fmla="*/ 10 h 60"/>
                  <a:gd name="T6" fmla="*/ 13 w 30"/>
                  <a:gd name="T7" fmla="*/ 0 h 60"/>
                  <a:gd name="T8" fmla="*/ 0 w 30"/>
                  <a:gd name="T9" fmla="*/ 10 h 60"/>
                  <a:gd name="T10" fmla="*/ 0 w 30"/>
                  <a:gd name="T11" fmla="*/ 50 h 60"/>
                  <a:gd name="T12" fmla="*/ 11 w 30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60">
                    <a:moveTo>
                      <a:pt x="11" y="60"/>
                    </a:moveTo>
                    <a:lnTo>
                      <a:pt x="27" y="40"/>
                    </a:lnTo>
                    <a:lnTo>
                      <a:pt x="30" y="10"/>
                    </a:lnTo>
                    <a:lnTo>
                      <a:pt x="13" y="0"/>
                    </a:lnTo>
                    <a:lnTo>
                      <a:pt x="0" y="10"/>
                    </a:lnTo>
                    <a:lnTo>
                      <a:pt x="0" y="50"/>
                    </a:lnTo>
                    <a:lnTo>
                      <a:pt x="11" y="6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0" name="Freeform 204">
                <a:extLst>
                  <a:ext uri="{FF2B5EF4-FFF2-40B4-BE49-F238E27FC236}">
                    <a16:creationId xmlns:a16="http://schemas.microsoft.com/office/drawing/2014/main" id="{94940E31-2722-44D7-AC16-E817FE3EF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6022975"/>
                <a:ext cx="19050" cy="19050"/>
              </a:xfrm>
              <a:custGeom>
                <a:avLst/>
                <a:gdLst>
                  <a:gd name="T0" fmla="*/ 57 w 57"/>
                  <a:gd name="T1" fmla="*/ 35 h 59"/>
                  <a:gd name="T2" fmla="*/ 40 w 57"/>
                  <a:gd name="T3" fmla="*/ 0 h 59"/>
                  <a:gd name="T4" fmla="*/ 7 w 57"/>
                  <a:gd name="T5" fmla="*/ 10 h 59"/>
                  <a:gd name="T6" fmla="*/ 0 w 57"/>
                  <a:gd name="T7" fmla="*/ 26 h 59"/>
                  <a:gd name="T8" fmla="*/ 7 w 57"/>
                  <a:gd name="T9" fmla="*/ 53 h 59"/>
                  <a:gd name="T10" fmla="*/ 40 w 57"/>
                  <a:gd name="T11" fmla="*/ 59 h 59"/>
                  <a:gd name="T12" fmla="*/ 57 w 57"/>
                  <a:gd name="T13" fmla="*/ 3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9">
                    <a:moveTo>
                      <a:pt x="57" y="35"/>
                    </a:moveTo>
                    <a:lnTo>
                      <a:pt x="40" y="0"/>
                    </a:lnTo>
                    <a:lnTo>
                      <a:pt x="7" y="10"/>
                    </a:lnTo>
                    <a:lnTo>
                      <a:pt x="0" y="26"/>
                    </a:lnTo>
                    <a:lnTo>
                      <a:pt x="7" y="53"/>
                    </a:lnTo>
                    <a:lnTo>
                      <a:pt x="40" y="59"/>
                    </a:lnTo>
                    <a:lnTo>
                      <a:pt x="57" y="3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1" name="Freeform 206">
                <a:extLst>
                  <a:ext uri="{FF2B5EF4-FFF2-40B4-BE49-F238E27FC236}">
                    <a16:creationId xmlns:a16="http://schemas.microsoft.com/office/drawing/2014/main" id="{00B66489-BBB0-47AF-A22B-8D6C67F91C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5088" y="6049963"/>
                <a:ext cx="11113" cy="19050"/>
              </a:xfrm>
              <a:custGeom>
                <a:avLst/>
                <a:gdLst>
                  <a:gd name="T0" fmla="*/ 9 w 33"/>
                  <a:gd name="T1" fmla="*/ 0 h 60"/>
                  <a:gd name="T2" fmla="*/ 0 w 33"/>
                  <a:gd name="T3" fmla="*/ 44 h 60"/>
                  <a:gd name="T4" fmla="*/ 3 w 33"/>
                  <a:gd name="T5" fmla="*/ 60 h 60"/>
                  <a:gd name="T6" fmla="*/ 33 w 33"/>
                  <a:gd name="T7" fmla="*/ 43 h 60"/>
                  <a:gd name="T8" fmla="*/ 25 w 33"/>
                  <a:gd name="T9" fmla="*/ 20 h 60"/>
                  <a:gd name="T10" fmla="*/ 9 w 33"/>
                  <a:gd name="T1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60">
                    <a:moveTo>
                      <a:pt x="9" y="0"/>
                    </a:moveTo>
                    <a:lnTo>
                      <a:pt x="0" y="44"/>
                    </a:lnTo>
                    <a:lnTo>
                      <a:pt x="3" y="60"/>
                    </a:lnTo>
                    <a:lnTo>
                      <a:pt x="33" y="43"/>
                    </a:lnTo>
                    <a:lnTo>
                      <a:pt x="25" y="2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2" name="Freeform 207">
                <a:extLst>
                  <a:ext uri="{FF2B5EF4-FFF2-40B4-BE49-F238E27FC236}">
                    <a16:creationId xmlns:a16="http://schemas.microsoft.com/office/drawing/2014/main" id="{66AEB904-6BDD-41EA-BC5E-D37A42C23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0638" y="6057900"/>
                <a:ext cx="26988" cy="30163"/>
              </a:xfrm>
              <a:custGeom>
                <a:avLst/>
                <a:gdLst>
                  <a:gd name="T0" fmla="*/ 15 w 87"/>
                  <a:gd name="T1" fmla="*/ 89 h 95"/>
                  <a:gd name="T2" fmla="*/ 35 w 87"/>
                  <a:gd name="T3" fmla="*/ 95 h 95"/>
                  <a:gd name="T4" fmla="*/ 57 w 87"/>
                  <a:gd name="T5" fmla="*/ 82 h 95"/>
                  <a:gd name="T6" fmla="*/ 87 w 87"/>
                  <a:gd name="T7" fmla="*/ 29 h 95"/>
                  <a:gd name="T8" fmla="*/ 50 w 87"/>
                  <a:gd name="T9" fmla="*/ 0 h 95"/>
                  <a:gd name="T10" fmla="*/ 47 w 87"/>
                  <a:gd name="T11" fmla="*/ 16 h 95"/>
                  <a:gd name="T12" fmla="*/ 60 w 87"/>
                  <a:gd name="T13" fmla="*/ 39 h 95"/>
                  <a:gd name="T14" fmla="*/ 47 w 87"/>
                  <a:gd name="T15" fmla="*/ 39 h 95"/>
                  <a:gd name="T16" fmla="*/ 13 w 87"/>
                  <a:gd name="T17" fmla="*/ 36 h 95"/>
                  <a:gd name="T18" fmla="*/ 3 w 87"/>
                  <a:gd name="T19" fmla="*/ 46 h 95"/>
                  <a:gd name="T20" fmla="*/ 27 w 87"/>
                  <a:gd name="T21" fmla="*/ 62 h 95"/>
                  <a:gd name="T22" fmla="*/ 0 w 87"/>
                  <a:gd name="T23" fmla="*/ 70 h 95"/>
                  <a:gd name="T24" fmla="*/ 15 w 87"/>
                  <a:gd name="T25" fmla="*/ 8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" h="95">
                    <a:moveTo>
                      <a:pt x="15" y="89"/>
                    </a:moveTo>
                    <a:lnTo>
                      <a:pt x="35" y="95"/>
                    </a:lnTo>
                    <a:lnTo>
                      <a:pt x="57" y="82"/>
                    </a:lnTo>
                    <a:lnTo>
                      <a:pt x="87" y="29"/>
                    </a:lnTo>
                    <a:lnTo>
                      <a:pt x="50" y="0"/>
                    </a:lnTo>
                    <a:lnTo>
                      <a:pt x="47" y="16"/>
                    </a:lnTo>
                    <a:lnTo>
                      <a:pt x="60" y="39"/>
                    </a:lnTo>
                    <a:lnTo>
                      <a:pt x="47" y="39"/>
                    </a:lnTo>
                    <a:lnTo>
                      <a:pt x="13" y="36"/>
                    </a:lnTo>
                    <a:lnTo>
                      <a:pt x="3" y="46"/>
                    </a:lnTo>
                    <a:lnTo>
                      <a:pt x="27" y="62"/>
                    </a:lnTo>
                    <a:lnTo>
                      <a:pt x="0" y="70"/>
                    </a:lnTo>
                    <a:lnTo>
                      <a:pt x="15" y="8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3" name="Freeform 208">
                <a:extLst>
                  <a:ext uri="{FF2B5EF4-FFF2-40B4-BE49-F238E27FC236}">
                    <a16:creationId xmlns:a16="http://schemas.microsoft.com/office/drawing/2014/main" id="{1715EF34-7C66-4360-BFAE-B4D014C68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5918200"/>
                <a:ext cx="36513" cy="47625"/>
              </a:xfrm>
              <a:custGeom>
                <a:avLst/>
                <a:gdLst>
                  <a:gd name="T0" fmla="*/ 111 w 118"/>
                  <a:gd name="T1" fmla="*/ 131 h 151"/>
                  <a:gd name="T2" fmla="*/ 107 w 118"/>
                  <a:gd name="T3" fmla="*/ 89 h 151"/>
                  <a:gd name="T4" fmla="*/ 87 w 118"/>
                  <a:gd name="T5" fmla="*/ 69 h 151"/>
                  <a:gd name="T6" fmla="*/ 87 w 118"/>
                  <a:gd name="T7" fmla="*/ 49 h 151"/>
                  <a:gd name="T8" fmla="*/ 57 w 118"/>
                  <a:gd name="T9" fmla="*/ 29 h 151"/>
                  <a:gd name="T10" fmla="*/ 43 w 118"/>
                  <a:gd name="T11" fmla="*/ 32 h 151"/>
                  <a:gd name="T12" fmla="*/ 27 w 118"/>
                  <a:gd name="T13" fmla="*/ 0 h 151"/>
                  <a:gd name="T14" fmla="*/ 10 w 118"/>
                  <a:gd name="T15" fmla="*/ 13 h 151"/>
                  <a:gd name="T16" fmla="*/ 0 w 118"/>
                  <a:gd name="T17" fmla="*/ 50 h 151"/>
                  <a:gd name="T18" fmla="*/ 24 w 118"/>
                  <a:gd name="T19" fmla="*/ 75 h 151"/>
                  <a:gd name="T20" fmla="*/ 61 w 118"/>
                  <a:gd name="T21" fmla="*/ 89 h 151"/>
                  <a:gd name="T22" fmla="*/ 61 w 118"/>
                  <a:gd name="T23" fmla="*/ 122 h 151"/>
                  <a:gd name="T24" fmla="*/ 98 w 118"/>
                  <a:gd name="T25" fmla="*/ 151 h 151"/>
                  <a:gd name="T26" fmla="*/ 118 w 118"/>
                  <a:gd name="T27" fmla="*/ 148 h 151"/>
                  <a:gd name="T28" fmla="*/ 111 w 118"/>
                  <a:gd name="T29" fmla="*/ 13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8" h="151">
                    <a:moveTo>
                      <a:pt x="111" y="131"/>
                    </a:moveTo>
                    <a:lnTo>
                      <a:pt x="107" y="89"/>
                    </a:lnTo>
                    <a:lnTo>
                      <a:pt x="87" y="69"/>
                    </a:lnTo>
                    <a:lnTo>
                      <a:pt x="87" y="49"/>
                    </a:lnTo>
                    <a:lnTo>
                      <a:pt x="57" y="29"/>
                    </a:lnTo>
                    <a:lnTo>
                      <a:pt x="43" y="32"/>
                    </a:lnTo>
                    <a:lnTo>
                      <a:pt x="27" y="0"/>
                    </a:lnTo>
                    <a:lnTo>
                      <a:pt x="10" y="13"/>
                    </a:lnTo>
                    <a:lnTo>
                      <a:pt x="0" y="50"/>
                    </a:lnTo>
                    <a:lnTo>
                      <a:pt x="24" y="75"/>
                    </a:lnTo>
                    <a:lnTo>
                      <a:pt x="61" y="89"/>
                    </a:lnTo>
                    <a:lnTo>
                      <a:pt x="61" y="122"/>
                    </a:lnTo>
                    <a:lnTo>
                      <a:pt x="98" y="151"/>
                    </a:lnTo>
                    <a:lnTo>
                      <a:pt x="118" y="148"/>
                    </a:lnTo>
                    <a:lnTo>
                      <a:pt x="111" y="13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4" name="Freeform 209">
                <a:extLst>
                  <a:ext uri="{FF2B5EF4-FFF2-40B4-BE49-F238E27FC236}">
                    <a16:creationId xmlns:a16="http://schemas.microsoft.com/office/drawing/2014/main" id="{C9200756-B7A2-4F5C-AEF5-63F6094CA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8900" y="5969000"/>
                <a:ext cx="23813" cy="15875"/>
              </a:xfrm>
              <a:custGeom>
                <a:avLst/>
                <a:gdLst>
                  <a:gd name="T0" fmla="*/ 71 w 74"/>
                  <a:gd name="T1" fmla="*/ 39 h 49"/>
                  <a:gd name="T2" fmla="*/ 74 w 74"/>
                  <a:gd name="T3" fmla="*/ 13 h 49"/>
                  <a:gd name="T4" fmla="*/ 50 w 74"/>
                  <a:gd name="T5" fmla="*/ 0 h 49"/>
                  <a:gd name="T6" fmla="*/ 17 w 74"/>
                  <a:gd name="T7" fmla="*/ 0 h 49"/>
                  <a:gd name="T8" fmla="*/ 0 w 74"/>
                  <a:gd name="T9" fmla="*/ 10 h 49"/>
                  <a:gd name="T10" fmla="*/ 44 w 74"/>
                  <a:gd name="T11" fmla="*/ 49 h 49"/>
                  <a:gd name="T12" fmla="*/ 71 w 74"/>
                  <a:gd name="T13" fmla="*/ 3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49">
                    <a:moveTo>
                      <a:pt x="71" y="39"/>
                    </a:moveTo>
                    <a:lnTo>
                      <a:pt x="74" y="13"/>
                    </a:lnTo>
                    <a:lnTo>
                      <a:pt x="50" y="0"/>
                    </a:lnTo>
                    <a:lnTo>
                      <a:pt x="17" y="0"/>
                    </a:lnTo>
                    <a:lnTo>
                      <a:pt x="0" y="10"/>
                    </a:lnTo>
                    <a:lnTo>
                      <a:pt x="44" y="49"/>
                    </a:lnTo>
                    <a:lnTo>
                      <a:pt x="71" y="3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5" name="Freeform 210">
                <a:extLst>
                  <a:ext uri="{FF2B5EF4-FFF2-40B4-BE49-F238E27FC236}">
                    <a16:creationId xmlns:a16="http://schemas.microsoft.com/office/drawing/2014/main" id="{873B1985-F6C0-4BD4-97A1-BCBEAEE88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888" y="5983288"/>
                <a:ext cx="19050" cy="11113"/>
              </a:xfrm>
              <a:custGeom>
                <a:avLst/>
                <a:gdLst>
                  <a:gd name="T0" fmla="*/ 0 w 60"/>
                  <a:gd name="T1" fmla="*/ 30 h 36"/>
                  <a:gd name="T2" fmla="*/ 30 w 60"/>
                  <a:gd name="T3" fmla="*/ 36 h 36"/>
                  <a:gd name="T4" fmla="*/ 60 w 60"/>
                  <a:gd name="T5" fmla="*/ 19 h 36"/>
                  <a:gd name="T6" fmla="*/ 60 w 60"/>
                  <a:gd name="T7" fmla="*/ 3 h 36"/>
                  <a:gd name="T8" fmla="*/ 27 w 60"/>
                  <a:gd name="T9" fmla="*/ 0 h 36"/>
                  <a:gd name="T10" fmla="*/ 0 w 60"/>
                  <a:gd name="T11" fmla="*/ 3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36">
                    <a:moveTo>
                      <a:pt x="0" y="30"/>
                    </a:moveTo>
                    <a:lnTo>
                      <a:pt x="30" y="36"/>
                    </a:lnTo>
                    <a:lnTo>
                      <a:pt x="60" y="19"/>
                    </a:lnTo>
                    <a:lnTo>
                      <a:pt x="60" y="3"/>
                    </a:lnTo>
                    <a:lnTo>
                      <a:pt x="27" y="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6" name="Freeform 211">
                <a:extLst>
                  <a:ext uri="{FF2B5EF4-FFF2-40B4-BE49-F238E27FC236}">
                    <a16:creationId xmlns:a16="http://schemas.microsoft.com/office/drawing/2014/main" id="{4DF034CB-E003-4875-B621-D9C87C33B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200" y="5981700"/>
                <a:ext cx="11113" cy="19050"/>
              </a:xfrm>
              <a:custGeom>
                <a:avLst/>
                <a:gdLst>
                  <a:gd name="T0" fmla="*/ 37 w 37"/>
                  <a:gd name="T1" fmla="*/ 24 h 57"/>
                  <a:gd name="T2" fmla="*/ 0 w 37"/>
                  <a:gd name="T3" fmla="*/ 0 h 57"/>
                  <a:gd name="T4" fmla="*/ 0 w 37"/>
                  <a:gd name="T5" fmla="*/ 37 h 57"/>
                  <a:gd name="T6" fmla="*/ 7 w 37"/>
                  <a:gd name="T7" fmla="*/ 57 h 57"/>
                  <a:gd name="T8" fmla="*/ 37 w 37"/>
                  <a:gd name="T9" fmla="*/ 2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57">
                    <a:moveTo>
                      <a:pt x="37" y="24"/>
                    </a:moveTo>
                    <a:lnTo>
                      <a:pt x="0" y="0"/>
                    </a:lnTo>
                    <a:lnTo>
                      <a:pt x="0" y="37"/>
                    </a:lnTo>
                    <a:lnTo>
                      <a:pt x="7" y="57"/>
                    </a:lnTo>
                    <a:lnTo>
                      <a:pt x="37" y="2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7" name="Freeform 212">
                <a:extLst>
                  <a:ext uri="{FF2B5EF4-FFF2-40B4-BE49-F238E27FC236}">
                    <a16:creationId xmlns:a16="http://schemas.microsoft.com/office/drawing/2014/main" id="{25A70F06-225F-4B66-AEF1-BC9189536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3663" y="6018213"/>
                <a:ext cx="20638" cy="25400"/>
              </a:xfrm>
              <a:custGeom>
                <a:avLst/>
                <a:gdLst>
                  <a:gd name="T0" fmla="*/ 50 w 62"/>
                  <a:gd name="T1" fmla="*/ 67 h 83"/>
                  <a:gd name="T2" fmla="*/ 62 w 62"/>
                  <a:gd name="T3" fmla="*/ 40 h 83"/>
                  <a:gd name="T4" fmla="*/ 56 w 62"/>
                  <a:gd name="T5" fmla="*/ 0 h 83"/>
                  <a:gd name="T6" fmla="*/ 12 w 62"/>
                  <a:gd name="T7" fmla="*/ 18 h 83"/>
                  <a:gd name="T8" fmla="*/ 0 w 62"/>
                  <a:gd name="T9" fmla="*/ 54 h 83"/>
                  <a:gd name="T10" fmla="*/ 27 w 62"/>
                  <a:gd name="T11" fmla="*/ 83 h 83"/>
                  <a:gd name="T12" fmla="*/ 50 w 62"/>
                  <a:gd name="T13" fmla="*/ 6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83">
                    <a:moveTo>
                      <a:pt x="50" y="67"/>
                    </a:moveTo>
                    <a:lnTo>
                      <a:pt x="62" y="40"/>
                    </a:lnTo>
                    <a:lnTo>
                      <a:pt x="56" y="0"/>
                    </a:lnTo>
                    <a:lnTo>
                      <a:pt x="12" y="18"/>
                    </a:lnTo>
                    <a:lnTo>
                      <a:pt x="0" y="54"/>
                    </a:lnTo>
                    <a:lnTo>
                      <a:pt x="27" y="83"/>
                    </a:lnTo>
                    <a:lnTo>
                      <a:pt x="50" y="6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8" name="Freeform 213">
                <a:extLst>
                  <a:ext uri="{FF2B5EF4-FFF2-40B4-BE49-F238E27FC236}">
                    <a16:creationId xmlns:a16="http://schemas.microsoft.com/office/drawing/2014/main" id="{873D1DE5-AE15-4397-911E-5E800015A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2238" y="6011863"/>
                <a:ext cx="23813" cy="36513"/>
              </a:xfrm>
              <a:custGeom>
                <a:avLst/>
                <a:gdLst>
                  <a:gd name="T0" fmla="*/ 77 w 77"/>
                  <a:gd name="T1" fmla="*/ 62 h 119"/>
                  <a:gd name="T2" fmla="*/ 74 w 77"/>
                  <a:gd name="T3" fmla="*/ 13 h 119"/>
                  <a:gd name="T4" fmla="*/ 57 w 77"/>
                  <a:gd name="T5" fmla="*/ 0 h 119"/>
                  <a:gd name="T6" fmla="*/ 17 w 77"/>
                  <a:gd name="T7" fmla="*/ 13 h 119"/>
                  <a:gd name="T8" fmla="*/ 0 w 77"/>
                  <a:gd name="T9" fmla="*/ 63 h 119"/>
                  <a:gd name="T10" fmla="*/ 28 w 77"/>
                  <a:gd name="T11" fmla="*/ 119 h 119"/>
                  <a:gd name="T12" fmla="*/ 45 w 77"/>
                  <a:gd name="T13" fmla="*/ 109 h 119"/>
                  <a:gd name="T14" fmla="*/ 77 w 77"/>
                  <a:gd name="T15" fmla="*/ 6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119">
                    <a:moveTo>
                      <a:pt x="77" y="62"/>
                    </a:moveTo>
                    <a:lnTo>
                      <a:pt x="74" y="13"/>
                    </a:lnTo>
                    <a:lnTo>
                      <a:pt x="57" y="0"/>
                    </a:lnTo>
                    <a:lnTo>
                      <a:pt x="17" y="13"/>
                    </a:lnTo>
                    <a:lnTo>
                      <a:pt x="0" y="63"/>
                    </a:lnTo>
                    <a:lnTo>
                      <a:pt x="28" y="119"/>
                    </a:lnTo>
                    <a:lnTo>
                      <a:pt x="45" y="109"/>
                    </a:lnTo>
                    <a:lnTo>
                      <a:pt x="77" y="6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9" name="Freeform 214">
                <a:extLst>
                  <a:ext uri="{FF2B5EF4-FFF2-40B4-BE49-F238E27FC236}">
                    <a16:creationId xmlns:a16="http://schemas.microsoft.com/office/drawing/2014/main" id="{D15C012D-E8DA-4763-BDC8-02606A5DE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538" y="6056313"/>
                <a:ext cx="14288" cy="23813"/>
              </a:xfrm>
              <a:custGeom>
                <a:avLst/>
                <a:gdLst>
                  <a:gd name="T0" fmla="*/ 38 w 47"/>
                  <a:gd name="T1" fmla="*/ 74 h 74"/>
                  <a:gd name="T2" fmla="*/ 47 w 47"/>
                  <a:gd name="T3" fmla="*/ 34 h 74"/>
                  <a:gd name="T4" fmla="*/ 36 w 47"/>
                  <a:gd name="T5" fmla="*/ 0 h 74"/>
                  <a:gd name="T6" fmla="*/ 0 w 47"/>
                  <a:gd name="T7" fmla="*/ 11 h 74"/>
                  <a:gd name="T8" fmla="*/ 0 w 47"/>
                  <a:gd name="T9" fmla="*/ 35 h 74"/>
                  <a:gd name="T10" fmla="*/ 38 w 47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74">
                    <a:moveTo>
                      <a:pt x="38" y="74"/>
                    </a:moveTo>
                    <a:lnTo>
                      <a:pt x="47" y="34"/>
                    </a:lnTo>
                    <a:lnTo>
                      <a:pt x="36" y="0"/>
                    </a:lnTo>
                    <a:lnTo>
                      <a:pt x="0" y="11"/>
                    </a:lnTo>
                    <a:lnTo>
                      <a:pt x="0" y="35"/>
                    </a:lnTo>
                    <a:lnTo>
                      <a:pt x="38" y="7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0" name="Freeform 215">
                <a:extLst>
                  <a:ext uri="{FF2B5EF4-FFF2-40B4-BE49-F238E27FC236}">
                    <a16:creationId xmlns:a16="http://schemas.microsoft.com/office/drawing/2014/main" id="{6A0CCD6C-9F37-4C3E-B34A-C54AC8609D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163" y="6035675"/>
                <a:ext cx="28575" cy="31750"/>
              </a:xfrm>
              <a:custGeom>
                <a:avLst/>
                <a:gdLst>
                  <a:gd name="T0" fmla="*/ 53 w 90"/>
                  <a:gd name="T1" fmla="*/ 40 h 97"/>
                  <a:gd name="T2" fmla="*/ 7 w 90"/>
                  <a:gd name="T3" fmla="*/ 63 h 97"/>
                  <a:gd name="T4" fmla="*/ 0 w 90"/>
                  <a:gd name="T5" fmla="*/ 97 h 97"/>
                  <a:gd name="T6" fmla="*/ 44 w 90"/>
                  <a:gd name="T7" fmla="*/ 83 h 97"/>
                  <a:gd name="T8" fmla="*/ 70 w 90"/>
                  <a:gd name="T9" fmla="*/ 53 h 97"/>
                  <a:gd name="T10" fmla="*/ 76 w 90"/>
                  <a:gd name="T11" fmla="*/ 13 h 97"/>
                  <a:gd name="T12" fmla="*/ 90 w 90"/>
                  <a:gd name="T13" fmla="*/ 0 h 97"/>
                  <a:gd name="T14" fmla="*/ 56 w 90"/>
                  <a:gd name="T15" fmla="*/ 3 h 97"/>
                  <a:gd name="T16" fmla="*/ 53 w 90"/>
                  <a:gd name="T17" fmla="*/ 4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97">
                    <a:moveTo>
                      <a:pt x="53" y="40"/>
                    </a:moveTo>
                    <a:lnTo>
                      <a:pt x="7" y="63"/>
                    </a:lnTo>
                    <a:lnTo>
                      <a:pt x="0" y="97"/>
                    </a:lnTo>
                    <a:lnTo>
                      <a:pt x="44" y="83"/>
                    </a:lnTo>
                    <a:lnTo>
                      <a:pt x="70" y="53"/>
                    </a:lnTo>
                    <a:lnTo>
                      <a:pt x="76" y="13"/>
                    </a:lnTo>
                    <a:lnTo>
                      <a:pt x="90" y="0"/>
                    </a:lnTo>
                    <a:lnTo>
                      <a:pt x="56" y="3"/>
                    </a:lnTo>
                    <a:lnTo>
                      <a:pt x="53" y="4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1" name="Freeform 216">
                <a:extLst>
                  <a:ext uri="{FF2B5EF4-FFF2-40B4-BE49-F238E27FC236}">
                    <a16:creationId xmlns:a16="http://schemas.microsoft.com/office/drawing/2014/main" id="{02CFF59A-5F09-41A4-ABCA-306D732D1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5888" y="6105525"/>
                <a:ext cx="19050" cy="22225"/>
              </a:xfrm>
              <a:custGeom>
                <a:avLst/>
                <a:gdLst>
                  <a:gd name="T0" fmla="*/ 61 w 61"/>
                  <a:gd name="T1" fmla="*/ 44 h 71"/>
                  <a:gd name="T2" fmla="*/ 27 w 61"/>
                  <a:gd name="T3" fmla="*/ 0 h 71"/>
                  <a:gd name="T4" fmla="*/ 0 w 61"/>
                  <a:gd name="T5" fmla="*/ 8 h 71"/>
                  <a:gd name="T6" fmla="*/ 1 w 61"/>
                  <a:gd name="T7" fmla="*/ 24 h 71"/>
                  <a:gd name="T8" fmla="*/ 20 w 61"/>
                  <a:gd name="T9" fmla="*/ 20 h 71"/>
                  <a:gd name="T10" fmla="*/ 34 w 61"/>
                  <a:gd name="T11" fmla="*/ 34 h 71"/>
                  <a:gd name="T12" fmla="*/ 28 w 61"/>
                  <a:gd name="T13" fmla="*/ 71 h 71"/>
                  <a:gd name="T14" fmla="*/ 61 w 61"/>
                  <a:gd name="T15" fmla="*/ 4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71">
                    <a:moveTo>
                      <a:pt x="61" y="44"/>
                    </a:moveTo>
                    <a:lnTo>
                      <a:pt x="27" y="0"/>
                    </a:lnTo>
                    <a:lnTo>
                      <a:pt x="0" y="8"/>
                    </a:lnTo>
                    <a:lnTo>
                      <a:pt x="1" y="24"/>
                    </a:lnTo>
                    <a:lnTo>
                      <a:pt x="20" y="20"/>
                    </a:lnTo>
                    <a:lnTo>
                      <a:pt x="34" y="34"/>
                    </a:lnTo>
                    <a:lnTo>
                      <a:pt x="28" y="71"/>
                    </a:lnTo>
                    <a:lnTo>
                      <a:pt x="61" y="4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2" name="Freeform 217">
                <a:extLst>
                  <a:ext uri="{FF2B5EF4-FFF2-40B4-BE49-F238E27FC236}">
                    <a16:creationId xmlns:a16="http://schemas.microsoft.com/office/drawing/2014/main" id="{A013ED0C-872F-47C3-983E-9BEC9FD4A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963" y="6081713"/>
                <a:ext cx="11113" cy="14288"/>
              </a:xfrm>
              <a:custGeom>
                <a:avLst/>
                <a:gdLst>
                  <a:gd name="T0" fmla="*/ 0 w 36"/>
                  <a:gd name="T1" fmla="*/ 30 h 45"/>
                  <a:gd name="T2" fmla="*/ 10 w 36"/>
                  <a:gd name="T3" fmla="*/ 45 h 45"/>
                  <a:gd name="T4" fmla="*/ 36 w 36"/>
                  <a:gd name="T5" fmla="*/ 5 h 45"/>
                  <a:gd name="T6" fmla="*/ 23 w 36"/>
                  <a:gd name="T7" fmla="*/ 0 h 45"/>
                  <a:gd name="T8" fmla="*/ 0 w 36"/>
                  <a:gd name="T9" fmla="*/ 3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45">
                    <a:moveTo>
                      <a:pt x="0" y="30"/>
                    </a:moveTo>
                    <a:lnTo>
                      <a:pt x="10" y="45"/>
                    </a:lnTo>
                    <a:lnTo>
                      <a:pt x="36" y="5"/>
                    </a:lnTo>
                    <a:lnTo>
                      <a:pt x="23" y="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3" name="Freeform 218">
                <a:extLst>
                  <a:ext uri="{FF2B5EF4-FFF2-40B4-BE49-F238E27FC236}">
                    <a16:creationId xmlns:a16="http://schemas.microsoft.com/office/drawing/2014/main" id="{167DA4EF-16E4-45A2-AAB9-5EFA9DCCC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1263" y="6192838"/>
                <a:ext cx="271463" cy="93663"/>
              </a:xfrm>
              <a:custGeom>
                <a:avLst/>
                <a:gdLst>
                  <a:gd name="T0" fmla="*/ 828 w 854"/>
                  <a:gd name="T1" fmla="*/ 123 h 296"/>
                  <a:gd name="T2" fmla="*/ 811 w 854"/>
                  <a:gd name="T3" fmla="*/ 170 h 296"/>
                  <a:gd name="T4" fmla="*/ 751 w 854"/>
                  <a:gd name="T5" fmla="*/ 170 h 296"/>
                  <a:gd name="T6" fmla="*/ 705 w 854"/>
                  <a:gd name="T7" fmla="*/ 183 h 296"/>
                  <a:gd name="T8" fmla="*/ 684 w 854"/>
                  <a:gd name="T9" fmla="*/ 131 h 296"/>
                  <a:gd name="T10" fmla="*/ 664 w 854"/>
                  <a:gd name="T11" fmla="*/ 104 h 296"/>
                  <a:gd name="T12" fmla="*/ 604 w 854"/>
                  <a:gd name="T13" fmla="*/ 125 h 296"/>
                  <a:gd name="T14" fmla="*/ 518 w 854"/>
                  <a:gd name="T15" fmla="*/ 125 h 296"/>
                  <a:gd name="T16" fmla="*/ 474 w 854"/>
                  <a:gd name="T17" fmla="*/ 96 h 296"/>
                  <a:gd name="T18" fmla="*/ 431 w 854"/>
                  <a:gd name="T19" fmla="*/ 100 h 296"/>
                  <a:gd name="T20" fmla="*/ 347 w 854"/>
                  <a:gd name="T21" fmla="*/ 124 h 296"/>
                  <a:gd name="T22" fmla="*/ 271 w 854"/>
                  <a:gd name="T23" fmla="*/ 134 h 296"/>
                  <a:gd name="T24" fmla="*/ 234 w 854"/>
                  <a:gd name="T25" fmla="*/ 98 h 296"/>
                  <a:gd name="T26" fmla="*/ 190 w 854"/>
                  <a:gd name="T27" fmla="*/ 75 h 296"/>
                  <a:gd name="T28" fmla="*/ 210 w 854"/>
                  <a:gd name="T29" fmla="*/ 35 h 296"/>
                  <a:gd name="T30" fmla="*/ 150 w 854"/>
                  <a:gd name="T31" fmla="*/ 33 h 296"/>
                  <a:gd name="T32" fmla="*/ 97 w 854"/>
                  <a:gd name="T33" fmla="*/ 43 h 296"/>
                  <a:gd name="T34" fmla="*/ 67 w 854"/>
                  <a:gd name="T35" fmla="*/ 0 h 296"/>
                  <a:gd name="T36" fmla="*/ 80 w 854"/>
                  <a:gd name="T37" fmla="*/ 56 h 296"/>
                  <a:gd name="T38" fmla="*/ 47 w 854"/>
                  <a:gd name="T39" fmla="*/ 61 h 296"/>
                  <a:gd name="T40" fmla="*/ 0 w 854"/>
                  <a:gd name="T41" fmla="*/ 17 h 296"/>
                  <a:gd name="T42" fmla="*/ 4 w 854"/>
                  <a:gd name="T43" fmla="*/ 57 h 296"/>
                  <a:gd name="T44" fmla="*/ 18 w 854"/>
                  <a:gd name="T45" fmla="*/ 116 h 296"/>
                  <a:gd name="T46" fmla="*/ 48 w 854"/>
                  <a:gd name="T47" fmla="*/ 183 h 296"/>
                  <a:gd name="T48" fmla="*/ 115 w 854"/>
                  <a:gd name="T49" fmla="*/ 155 h 296"/>
                  <a:gd name="T50" fmla="*/ 195 w 854"/>
                  <a:gd name="T51" fmla="*/ 195 h 296"/>
                  <a:gd name="T52" fmla="*/ 268 w 854"/>
                  <a:gd name="T53" fmla="*/ 201 h 296"/>
                  <a:gd name="T54" fmla="*/ 335 w 854"/>
                  <a:gd name="T55" fmla="*/ 200 h 296"/>
                  <a:gd name="T56" fmla="*/ 402 w 854"/>
                  <a:gd name="T57" fmla="*/ 256 h 296"/>
                  <a:gd name="T58" fmla="*/ 402 w 854"/>
                  <a:gd name="T59" fmla="*/ 296 h 296"/>
                  <a:gd name="T60" fmla="*/ 469 w 854"/>
                  <a:gd name="T61" fmla="*/ 286 h 296"/>
                  <a:gd name="T62" fmla="*/ 526 w 854"/>
                  <a:gd name="T63" fmla="*/ 246 h 296"/>
                  <a:gd name="T64" fmla="*/ 618 w 854"/>
                  <a:gd name="T65" fmla="*/ 258 h 296"/>
                  <a:gd name="T66" fmla="*/ 712 w 854"/>
                  <a:gd name="T67" fmla="*/ 260 h 296"/>
                  <a:gd name="T68" fmla="*/ 775 w 854"/>
                  <a:gd name="T69" fmla="*/ 237 h 296"/>
                  <a:gd name="T70" fmla="*/ 822 w 854"/>
                  <a:gd name="T71" fmla="*/ 239 h 296"/>
                  <a:gd name="T72" fmla="*/ 851 w 854"/>
                  <a:gd name="T73" fmla="*/ 182 h 296"/>
                  <a:gd name="T74" fmla="*/ 838 w 854"/>
                  <a:gd name="T75" fmla="*/ 14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54" h="296">
                    <a:moveTo>
                      <a:pt x="841" y="116"/>
                    </a:moveTo>
                    <a:lnTo>
                      <a:pt x="828" y="123"/>
                    </a:lnTo>
                    <a:lnTo>
                      <a:pt x="824" y="146"/>
                    </a:lnTo>
                    <a:lnTo>
                      <a:pt x="811" y="170"/>
                    </a:lnTo>
                    <a:lnTo>
                      <a:pt x="774" y="160"/>
                    </a:lnTo>
                    <a:lnTo>
                      <a:pt x="751" y="170"/>
                    </a:lnTo>
                    <a:lnTo>
                      <a:pt x="728" y="193"/>
                    </a:lnTo>
                    <a:lnTo>
                      <a:pt x="705" y="183"/>
                    </a:lnTo>
                    <a:lnTo>
                      <a:pt x="691" y="157"/>
                    </a:lnTo>
                    <a:lnTo>
                      <a:pt x="684" y="131"/>
                    </a:lnTo>
                    <a:lnTo>
                      <a:pt x="691" y="111"/>
                    </a:lnTo>
                    <a:lnTo>
                      <a:pt x="664" y="104"/>
                    </a:lnTo>
                    <a:lnTo>
                      <a:pt x="634" y="124"/>
                    </a:lnTo>
                    <a:lnTo>
                      <a:pt x="604" y="125"/>
                    </a:lnTo>
                    <a:lnTo>
                      <a:pt x="574" y="108"/>
                    </a:lnTo>
                    <a:lnTo>
                      <a:pt x="518" y="125"/>
                    </a:lnTo>
                    <a:lnTo>
                      <a:pt x="491" y="123"/>
                    </a:lnTo>
                    <a:lnTo>
                      <a:pt x="474" y="96"/>
                    </a:lnTo>
                    <a:lnTo>
                      <a:pt x="448" y="86"/>
                    </a:lnTo>
                    <a:lnTo>
                      <a:pt x="431" y="100"/>
                    </a:lnTo>
                    <a:lnTo>
                      <a:pt x="378" y="107"/>
                    </a:lnTo>
                    <a:lnTo>
                      <a:pt x="347" y="124"/>
                    </a:lnTo>
                    <a:lnTo>
                      <a:pt x="294" y="124"/>
                    </a:lnTo>
                    <a:lnTo>
                      <a:pt x="271" y="134"/>
                    </a:lnTo>
                    <a:lnTo>
                      <a:pt x="247" y="95"/>
                    </a:lnTo>
                    <a:lnTo>
                      <a:pt x="234" y="98"/>
                    </a:lnTo>
                    <a:lnTo>
                      <a:pt x="190" y="92"/>
                    </a:lnTo>
                    <a:lnTo>
                      <a:pt x="190" y="75"/>
                    </a:lnTo>
                    <a:lnTo>
                      <a:pt x="220" y="58"/>
                    </a:lnTo>
                    <a:lnTo>
                      <a:pt x="210" y="35"/>
                    </a:lnTo>
                    <a:lnTo>
                      <a:pt x="180" y="23"/>
                    </a:lnTo>
                    <a:lnTo>
                      <a:pt x="150" y="33"/>
                    </a:lnTo>
                    <a:lnTo>
                      <a:pt x="120" y="63"/>
                    </a:lnTo>
                    <a:lnTo>
                      <a:pt x="97" y="43"/>
                    </a:lnTo>
                    <a:lnTo>
                      <a:pt x="90" y="0"/>
                    </a:lnTo>
                    <a:lnTo>
                      <a:pt x="67" y="0"/>
                    </a:lnTo>
                    <a:lnTo>
                      <a:pt x="53" y="30"/>
                    </a:lnTo>
                    <a:lnTo>
                      <a:pt x="80" y="56"/>
                    </a:lnTo>
                    <a:lnTo>
                      <a:pt x="64" y="73"/>
                    </a:lnTo>
                    <a:lnTo>
                      <a:pt x="47" y="61"/>
                    </a:lnTo>
                    <a:lnTo>
                      <a:pt x="23" y="27"/>
                    </a:lnTo>
                    <a:lnTo>
                      <a:pt x="0" y="17"/>
                    </a:lnTo>
                    <a:lnTo>
                      <a:pt x="6" y="37"/>
                    </a:lnTo>
                    <a:lnTo>
                      <a:pt x="4" y="57"/>
                    </a:lnTo>
                    <a:lnTo>
                      <a:pt x="21" y="84"/>
                    </a:lnTo>
                    <a:lnTo>
                      <a:pt x="18" y="116"/>
                    </a:lnTo>
                    <a:lnTo>
                      <a:pt x="24" y="150"/>
                    </a:lnTo>
                    <a:lnTo>
                      <a:pt x="48" y="183"/>
                    </a:lnTo>
                    <a:lnTo>
                      <a:pt x="84" y="170"/>
                    </a:lnTo>
                    <a:lnTo>
                      <a:pt x="115" y="155"/>
                    </a:lnTo>
                    <a:lnTo>
                      <a:pt x="165" y="169"/>
                    </a:lnTo>
                    <a:lnTo>
                      <a:pt x="195" y="195"/>
                    </a:lnTo>
                    <a:lnTo>
                      <a:pt x="235" y="191"/>
                    </a:lnTo>
                    <a:lnTo>
                      <a:pt x="268" y="201"/>
                    </a:lnTo>
                    <a:lnTo>
                      <a:pt x="305" y="211"/>
                    </a:lnTo>
                    <a:lnTo>
                      <a:pt x="335" y="200"/>
                    </a:lnTo>
                    <a:lnTo>
                      <a:pt x="375" y="227"/>
                    </a:lnTo>
                    <a:lnTo>
                      <a:pt x="402" y="256"/>
                    </a:lnTo>
                    <a:lnTo>
                      <a:pt x="389" y="289"/>
                    </a:lnTo>
                    <a:lnTo>
                      <a:pt x="402" y="296"/>
                    </a:lnTo>
                    <a:lnTo>
                      <a:pt x="419" y="286"/>
                    </a:lnTo>
                    <a:lnTo>
                      <a:pt x="469" y="286"/>
                    </a:lnTo>
                    <a:lnTo>
                      <a:pt x="492" y="276"/>
                    </a:lnTo>
                    <a:lnTo>
                      <a:pt x="526" y="246"/>
                    </a:lnTo>
                    <a:lnTo>
                      <a:pt x="583" y="244"/>
                    </a:lnTo>
                    <a:lnTo>
                      <a:pt x="618" y="258"/>
                    </a:lnTo>
                    <a:lnTo>
                      <a:pt x="662" y="243"/>
                    </a:lnTo>
                    <a:lnTo>
                      <a:pt x="712" y="260"/>
                    </a:lnTo>
                    <a:lnTo>
                      <a:pt x="739" y="257"/>
                    </a:lnTo>
                    <a:lnTo>
                      <a:pt x="775" y="237"/>
                    </a:lnTo>
                    <a:lnTo>
                      <a:pt x="795" y="252"/>
                    </a:lnTo>
                    <a:lnTo>
                      <a:pt x="822" y="239"/>
                    </a:lnTo>
                    <a:lnTo>
                      <a:pt x="844" y="205"/>
                    </a:lnTo>
                    <a:lnTo>
                      <a:pt x="851" y="182"/>
                    </a:lnTo>
                    <a:lnTo>
                      <a:pt x="854" y="169"/>
                    </a:lnTo>
                    <a:lnTo>
                      <a:pt x="838" y="143"/>
                    </a:lnTo>
                    <a:lnTo>
                      <a:pt x="841" y="11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4" name="Freeform 219">
                <a:extLst>
                  <a:ext uri="{FF2B5EF4-FFF2-40B4-BE49-F238E27FC236}">
                    <a16:creationId xmlns:a16="http://schemas.microsoft.com/office/drawing/2014/main" id="{92F5E8B4-78F0-4103-8D35-2ACE4FCCF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5113" y="6216650"/>
                <a:ext cx="14288" cy="19050"/>
              </a:xfrm>
              <a:custGeom>
                <a:avLst/>
                <a:gdLst>
                  <a:gd name="T0" fmla="*/ 27 w 47"/>
                  <a:gd name="T1" fmla="*/ 17 h 60"/>
                  <a:gd name="T2" fmla="*/ 13 w 47"/>
                  <a:gd name="T3" fmla="*/ 7 h 60"/>
                  <a:gd name="T4" fmla="*/ 0 w 47"/>
                  <a:gd name="T5" fmla="*/ 37 h 60"/>
                  <a:gd name="T6" fmla="*/ 7 w 47"/>
                  <a:gd name="T7" fmla="*/ 60 h 60"/>
                  <a:gd name="T8" fmla="*/ 47 w 47"/>
                  <a:gd name="T9" fmla="*/ 20 h 60"/>
                  <a:gd name="T10" fmla="*/ 44 w 47"/>
                  <a:gd name="T11" fmla="*/ 0 h 60"/>
                  <a:gd name="T12" fmla="*/ 27 w 47"/>
                  <a:gd name="T13" fmla="*/ 1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60">
                    <a:moveTo>
                      <a:pt x="27" y="17"/>
                    </a:moveTo>
                    <a:lnTo>
                      <a:pt x="13" y="7"/>
                    </a:lnTo>
                    <a:lnTo>
                      <a:pt x="0" y="37"/>
                    </a:lnTo>
                    <a:lnTo>
                      <a:pt x="7" y="60"/>
                    </a:lnTo>
                    <a:lnTo>
                      <a:pt x="47" y="20"/>
                    </a:lnTo>
                    <a:lnTo>
                      <a:pt x="44" y="0"/>
                    </a:lnTo>
                    <a:lnTo>
                      <a:pt x="27" y="1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5" name="Freeform 220">
                <a:extLst>
                  <a:ext uri="{FF2B5EF4-FFF2-40B4-BE49-F238E27FC236}">
                    <a16:creationId xmlns:a16="http://schemas.microsoft.com/office/drawing/2014/main" id="{75FF070F-72B3-458C-AAF9-3C49391D5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7338" y="6161088"/>
                <a:ext cx="17463" cy="58738"/>
              </a:xfrm>
              <a:custGeom>
                <a:avLst/>
                <a:gdLst>
                  <a:gd name="T0" fmla="*/ 30 w 57"/>
                  <a:gd name="T1" fmla="*/ 63 h 186"/>
                  <a:gd name="T2" fmla="*/ 30 w 57"/>
                  <a:gd name="T3" fmla="*/ 37 h 186"/>
                  <a:gd name="T4" fmla="*/ 46 w 57"/>
                  <a:gd name="T5" fmla="*/ 27 h 186"/>
                  <a:gd name="T6" fmla="*/ 19 w 57"/>
                  <a:gd name="T7" fmla="*/ 0 h 186"/>
                  <a:gd name="T8" fmla="*/ 26 w 57"/>
                  <a:gd name="T9" fmla="*/ 27 h 186"/>
                  <a:gd name="T10" fmla="*/ 10 w 57"/>
                  <a:gd name="T11" fmla="*/ 50 h 186"/>
                  <a:gd name="T12" fmla="*/ 10 w 57"/>
                  <a:gd name="T13" fmla="*/ 74 h 186"/>
                  <a:gd name="T14" fmla="*/ 4 w 57"/>
                  <a:gd name="T15" fmla="*/ 96 h 186"/>
                  <a:gd name="T16" fmla="*/ 0 w 57"/>
                  <a:gd name="T17" fmla="*/ 116 h 186"/>
                  <a:gd name="T18" fmla="*/ 24 w 57"/>
                  <a:gd name="T19" fmla="*/ 140 h 186"/>
                  <a:gd name="T20" fmla="*/ 5 w 57"/>
                  <a:gd name="T21" fmla="*/ 176 h 186"/>
                  <a:gd name="T22" fmla="*/ 8 w 57"/>
                  <a:gd name="T23" fmla="*/ 186 h 186"/>
                  <a:gd name="T24" fmla="*/ 38 w 57"/>
                  <a:gd name="T25" fmla="*/ 176 h 186"/>
                  <a:gd name="T26" fmla="*/ 57 w 57"/>
                  <a:gd name="T27" fmla="*/ 126 h 186"/>
                  <a:gd name="T28" fmla="*/ 24 w 57"/>
                  <a:gd name="T29" fmla="*/ 103 h 186"/>
                  <a:gd name="T30" fmla="*/ 30 w 57"/>
                  <a:gd name="T31" fmla="*/ 63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7" h="186">
                    <a:moveTo>
                      <a:pt x="30" y="63"/>
                    </a:moveTo>
                    <a:lnTo>
                      <a:pt x="30" y="37"/>
                    </a:lnTo>
                    <a:lnTo>
                      <a:pt x="46" y="27"/>
                    </a:lnTo>
                    <a:lnTo>
                      <a:pt x="19" y="0"/>
                    </a:lnTo>
                    <a:lnTo>
                      <a:pt x="26" y="27"/>
                    </a:lnTo>
                    <a:lnTo>
                      <a:pt x="10" y="50"/>
                    </a:lnTo>
                    <a:lnTo>
                      <a:pt x="10" y="74"/>
                    </a:lnTo>
                    <a:lnTo>
                      <a:pt x="4" y="96"/>
                    </a:lnTo>
                    <a:lnTo>
                      <a:pt x="0" y="116"/>
                    </a:lnTo>
                    <a:lnTo>
                      <a:pt x="24" y="140"/>
                    </a:lnTo>
                    <a:lnTo>
                      <a:pt x="5" y="176"/>
                    </a:lnTo>
                    <a:lnTo>
                      <a:pt x="8" y="186"/>
                    </a:lnTo>
                    <a:lnTo>
                      <a:pt x="38" y="176"/>
                    </a:lnTo>
                    <a:lnTo>
                      <a:pt x="57" y="126"/>
                    </a:lnTo>
                    <a:lnTo>
                      <a:pt x="24" y="103"/>
                    </a:lnTo>
                    <a:lnTo>
                      <a:pt x="30" y="6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6" name="Freeform 221">
                <a:extLst>
                  <a:ext uri="{FF2B5EF4-FFF2-40B4-BE49-F238E27FC236}">
                    <a16:creationId xmlns:a16="http://schemas.microsoft.com/office/drawing/2014/main" id="{34A1DAAC-980F-478B-B92D-9A2AF0644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5576888"/>
                <a:ext cx="22225" cy="25400"/>
              </a:xfrm>
              <a:custGeom>
                <a:avLst/>
                <a:gdLst>
                  <a:gd name="T0" fmla="*/ 67 w 67"/>
                  <a:gd name="T1" fmla="*/ 59 h 82"/>
                  <a:gd name="T2" fmla="*/ 66 w 67"/>
                  <a:gd name="T3" fmla="*/ 16 h 82"/>
                  <a:gd name="T4" fmla="*/ 39 w 67"/>
                  <a:gd name="T5" fmla="*/ 0 h 82"/>
                  <a:gd name="T6" fmla="*/ 4 w 67"/>
                  <a:gd name="T7" fmla="*/ 33 h 82"/>
                  <a:gd name="T8" fmla="*/ 0 w 67"/>
                  <a:gd name="T9" fmla="*/ 56 h 82"/>
                  <a:gd name="T10" fmla="*/ 37 w 67"/>
                  <a:gd name="T11" fmla="*/ 82 h 82"/>
                  <a:gd name="T12" fmla="*/ 67 w 67"/>
                  <a:gd name="T13" fmla="*/ 5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82">
                    <a:moveTo>
                      <a:pt x="67" y="59"/>
                    </a:moveTo>
                    <a:lnTo>
                      <a:pt x="66" y="16"/>
                    </a:lnTo>
                    <a:lnTo>
                      <a:pt x="39" y="0"/>
                    </a:lnTo>
                    <a:lnTo>
                      <a:pt x="4" y="33"/>
                    </a:lnTo>
                    <a:lnTo>
                      <a:pt x="0" y="56"/>
                    </a:lnTo>
                    <a:lnTo>
                      <a:pt x="37" y="82"/>
                    </a:lnTo>
                    <a:lnTo>
                      <a:pt x="67" y="5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7" name="Freeform 222">
                <a:extLst>
                  <a:ext uri="{FF2B5EF4-FFF2-40B4-BE49-F238E27FC236}">
                    <a16:creationId xmlns:a16="http://schemas.microsoft.com/office/drawing/2014/main" id="{42BDD64B-F2EC-4D1E-9DCA-DA27D7D81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0650" y="5613400"/>
                <a:ext cx="25400" cy="14288"/>
              </a:xfrm>
              <a:custGeom>
                <a:avLst/>
                <a:gdLst>
                  <a:gd name="T0" fmla="*/ 79 w 79"/>
                  <a:gd name="T1" fmla="*/ 13 h 42"/>
                  <a:gd name="T2" fmla="*/ 35 w 79"/>
                  <a:gd name="T3" fmla="*/ 0 h 42"/>
                  <a:gd name="T4" fmla="*/ 6 w 79"/>
                  <a:gd name="T5" fmla="*/ 16 h 42"/>
                  <a:gd name="T6" fmla="*/ 0 w 79"/>
                  <a:gd name="T7" fmla="*/ 33 h 42"/>
                  <a:gd name="T8" fmla="*/ 36 w 79"/>
                  <a:gd name="T9" fmla="*/ 36 h 42"/>
                  <a:gd name="T10" fmla="*/ 76 w 79"/>
                  <a:gd name="T11" fmla="*/ 42 h 42"/>
                  <a:gd name="T12" fmla="*/ 79 w 79"/>
                  <a:gd name="T13" fmla="*/ 1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" h="42">
                    <a:moveTo>
                      <a:pt x="79" y="13"/>
                    </a:moveTo>
                    <a:lnTo>
                      <a:pt x="35" y="0"/>
                    </a:lnTo>
                    <a:lnTo>
                      <a:pt x="6" y="16"/>
                    </a:lnTo>
                    <a:lnTo>
                      <a:pt x="0" y="33"/>
                    </a:lnTo>
                    <a:lnTo>
                      <a:pt x="36" y="36"/>
                    </a:lnTo>
                    <a:lnTo>
                      <a:pt x="76" y="42"/>
                    </a:lnTo>
                    <a:lnTo>
                      <a:pt x="79" y="1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8" name="Freeform 223">
                <a:extLst>
                  <a:ext uri="{FF2B5EF4-FFF2-40B4-BE49-F238E27FC236}">
                    <a16:creationId xmlns:a16="http://schemas.microsoft.com/office/drawing/2014/main" id="{7F73D839-E4DF-429D-AAB1-01428C71D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75" y="5661025"/>
                <a:ext cx="44450" cy="46038"/>
              </a:xfrm>
              <a:custGeom>
                <a:avLst/>
                <a:gdLst>
                  <a:gd name="T0" fmla="*/ 90 w 140"/>
                  <a:gd name="T1" fmla="*/ 65 h 146"/>
                  <a:gd name="T2" fmla="*/ 56 w 140"/>
                  <a:gd name="T3" fmla="*/ 53 h 146"/>
                  <a:gd name="T4" fmla="*/ 0 w 140"/>
                  <a:gd name="T5" fmla="*/ 53 h 146"/>
                  <a:gd name="T6" fmla="*/ 14 w 140"/>
                  <a:gd name="T7" fmla="*/ 103 h 146"/>
                  <a:gd name="T8" fmla="*/ 41 w 140"/>
                  <a:gd name="T9" fmla="*/ 146 h 146"/>
                  <a:gd name="T10" fmla="*/ 64 w 140"/>
                  <a:gd name="T11" fmla="*/ 99 h 146"/>
                  <a:gd name="T12" fmla="*/ 81 w 140"/>
                  <a:gd name="T13" fmla="*/ 99 h 146"/>
                  <a:gd name="T14" fmla="*/ 74 w 140"/>
                  <a:gd name="T15" fmla="*/ 122 h 146"/>
                  <a:gd name="T16" fmla="*/ 114 w 140"/>
                  <a:gd name="T17" fmla="*/ 139 h 146"/>
                  <a:gd name="T18" fmla="*/ 104 w 140"/>
                  <a:gd name="T19" fmla="*/ 82 h 146"/>
                  <a:gd name="T20" fmla="*/ 140 w 140"/>
                  <a:gd name="T21" fmla="*/ 22 h 146"/>
                  <a:gd name="T22" fmla="*/ 106 w 140"/>
                  <a:gd name="T23" fmla="*/ 0 h 146"/>
                  <a:gd name="T24" fmla="*/ 90 w 140"/>
                  <a:gd name="T25" fmla="*/ 65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0" h="146">
                    <a:moveTo>
                      <a:pt x="90" y="65"/>
                    </a:moveTo>
                    <a:lnTo>
                      <a:pt x="56" y="53"/>
                    </a:lnTo>
                    <a:lnTo>
                      <a:pt x="0" y="53"/>
                    </a:lnTo>
                    <a:lnTo>
                      <a:pt x="14" y="103"/>
                    </a:lnTo>
                    <a:lnTo>
                      <a:pt x="41" y="146"/>
                    </a:lnTo>
                    <a:lnTo>
                      <a:pt x="64" y="99"/>
                    </a:lnTo>
                    <a:lnTo>
                      <a:pt x="81" y="99"/>
                    </a:lnTo>
                    <a:lnTo>
                      <a:pt x="74" y="122"/>
                    </a:lnTo>
                    <a:lnTo>
                      <a:pt x="114" y="139"/>
                    </a:lnTo>
                    <a:lnTo>
                      <a:pt x="104" y="82"/>
                    </a:lnTo>
                    <a:lnTo>
                      <a:pt x="140" y="22"/>
                    </a:lnTo>
                    <a:lnTo>
                      <a:pt x="106" y="0"/>
                    </a:lnTo>
                    <a:lnTo>
                      <a:pt x="90" y="6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89" name="Freeform 224">
                <a:extLst>
                  <a:ext uri="{FF2B5EF4-FFF2-40B4-BE49-F238E27FC236}">
                    <a16:creationId xmlns:a16="http://schemas.microsoft.com/office/drawing/2014/main" id="{839E012D-C802-46CC-992D-EAF7C4DDB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6688" y="5751513"/>
                <a:ext cx="79375" cy="46038"/>
              </a:xfrm>
              <a:custGeom>
                <a:avLst/>
                <a:gdLst>
                  <a:gd name="T0" fmla="*/ 174 w 251"/>
                  <a:gd name="T1" fmla="*/ 73 h 146"/>
                  <a:gd name="T2" fmla="*/ 204 w 251"/>
                  <a:gd name="T3" fmla="*/ 99 h 146"/>
                  <a:gd name="T4" fmla="*/ 251 w 251"/>
                  <a:gd name="T5" fmla="*/ 76 h 146"/>
                  <a:gd name="T6" fmla="*/ 184 w 251"/>
                  <a:gd name="T7" fmla="*/ 43 h 146"/>
                  <a:gd name="T8" fmla="*/ 180 w 251"/>
                  <a:gd name="T9" fmla="*/ 13 h 146"/>
                  <a:gd name="T10" fmla="*/ 143 w 251"/>
                  <a:gd name="T11" fmla="*/ 0 h 146"/>
                  <a:gd name="T12" fmla="*/ 121 w 251"/>
                  <a:gd name="T13" fmla="*/ 20 h 146"/>
                  <a:gd name="T14" fmla="*/ 77 w 251"/>
                  <a:gd name="T15" fmla="*/ 21 h 146"/>
                  <a:gd name="T16" fmla="*/ 71 w 251"/>
                  <a:gd name="T17" fmla="*/ 44 h 146"/>
                  <a:gd name="T18" fmla="*/ 0 w 251"/>
                  <a:gd name="T19" fmla="*/ 41 h 146"/>
                  <a:gd name="T20" fmla="*/ 4 w 251"/>
                  <a:gd name="T21" fmla="*/ 81 h 146"/>
                  <a:gd name="T22" fmla="*/ 67 w 251"/>
                  <a:gd name="T23" fmla="*/ 107 h 146"/>
                  <a:gd name="T24" fmla="*/ 94 w 251"/>
                  <a:gd name="T25" fmla="*/ 67 h 146"/>
                  <a:gd name="T26" fmla="*/ 137 w 251"/>
                  <a:gd name="T27" fmla="*/ 77 h 146"/>
                  <a:gd name="T28" fmla="*/ 81 w 251"/>
                  <a:gd name="T29" fmla="*/ 113 h 146"/>
                  <a:gd name="T30" fmla="*/ 115 w 251"/>
                  <a:gd name="T31" fmla="*/ 144 h 146"/>
                  <a:gd name="T32" fmla="*/ 171 w 251"/>
                  <a:gd name="T33" fmla="*/ 146 h 146"/>
                  <a:gd name="T34" fmla="*/ 191 w 251"/>
                  <a:gd name="T35" fmla="*/ 122 h 146"/>
                  <a:gd name="T36" fmla="*/ 174 w 251"/>
                  <a:gd name="T37" fmla="*/ 7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1" h="146">
                    <a:moveTo>
                      <a:pt x="174" y="73"/>
                    </a:moveTo>
                    <a:lnTo>
                      <a:pt x="204" y="99"/>
                    </a:lnTo>
                    <a:lnTo>
                      <a:pt x="251" y="76"/>
                    </a:lnTo>
                    <a:lnTo>
                      <a:pt x="184" y="43"/>
                    </a:lnTo>
                    <a:lnTo>
                      <a:pt x="180" y="13"/>
                    </a:lnTo>
                    <a:lnTo>
                      <a:pt x="143" y="0"/>
                    </a:lnTo>
                    <a:lnTo>
                      <a:pt x="121" y="20"/>
                    </a:lnTo>
                    <a:lnTo>
                      <a:pt x="77" y="21"/>
                    </a:lnTo>
                    <a:lnTo>
                      <a:pt x="71" y="44"/>
                    </a:lnTo>
                    <a:lnTo>
                      <a:pt x="0" y="41"/>
                    </a:lnTo>
                    <a:lnTo>
                      <a:pt x="4" y="81"/>
                    </a:lnTo>
                    <a:lnTo>
                      <a:pt x="67" y="107"/>
                    </a:lnTo>
                    <a:lnTo>
                      <a:pt x="94" y="67"/>
                    </a:lnTo>
                    <a:lnTo>
                      <a:pt x="137" y="77"/>
                    </a:lnTo>
                    <a:lnTo>
                      <a:pt x="81" y="113"/>
                    </a:lnTo>
                    <a:lnTo>
                      <a:pt x="115" y="144"/>
                    </a:lnTo>
                    <a:lnTo>
                      <a:pt x="171" y="146"/>
                    </a:lnTo>
                    <a:lnTo>
                      <a:pt x="191" y="122"/>
                    </a:lnTo>
                    <a:lnTo>
                      <a:pt x="174" y="7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0" name="Freeform 225">
                <a:extLst>
                  <a:ext uri="{FF2B5EF4-FFF2-40B4-BE49-F238E27FC236}">
                    <a16:creationId xmlns:a16="http://schemas.microsoft.com/office/drawing/2014/main" id="{1F3736B6-015A-42DA-918F-81893DBE0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6688" y="5843588"/>
                <a:ext cx="30163" cy="47625"/>
              </a:xfrm>
              <a:custGeom>
                <a:avLst/>
                <a:gdLst>
                  <a:gd name="T0" fmla="*/ 74 w 95"/>
                  <a:gd name="T1" fmla="*/ 3 h 152"/>
                  <a:gd name="T2" fmla="*/ 34 w 95"/>
                  <a:gd name="T3" fmla="*/ 0 h 152"/>
                  <a:gd name="T4" fmla="*/ 4 w 95"/>
                  <a:gd name="T5" fmla="*/ 6 h 152"/>
                  <a:gd name="T6" fmla="*/ 0 w 95"/>
                  <a:gd name="T7" fmla="*/ 40 h 152"/>
                  <a:gd name="T8" fmla="*/ 45 w 95"/>
                  <a:gd name="T9" fmla="*/ 70 h 152"/>
                  <a:gd name="T10" fmla="*/ 18 w 95"/>
                  <a:gd name="T11" fmla="*/ 116 h 152"/>
                  <a:gd name="T12" fmla="*/ 58 w 95"/>
                  <a:gd name="T13" fmla="*/ 152 h 152"/>
                  <a:gd name="T14" fmla="*/ 72 w 95"/>
                  <a:gd name="T15" fmla="*/ 109 h 152"/>
                  <a:gd name="T16" fmla="*/ 95 w 95"/>
                  <a:gd name="T17" fmla="*/ 92 h 152"/>
                  <a:gd name="T18" fmla="*/ 90 w 95"/>
                  <a:gd name="T19" fmla="*/ 59 h 152"/>
                  <a:gd name="T20" fmla="*/ 74 w 95"/>
                  <a:gd name="T21" fmla="*/ 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5" h="152">
                    <a:moveTo>
                      <a:pt x="74" y="3"/>
                    </a:moveTo>
                    <a:lnTo>
                      <a:pt x="34" y="0"/>
                    </a:lnTo>
                    <a:lnTo>
                      <a:pt x="4" y="6"/>
                    </a:lnTo>
                    <a:lnTo>
                      <a:pt x="0" y="40"/>
                    </a:lnTo>
                    <a:lnTo>
                      <a:pt x="45" y="70"/>
                    </a:lnTo>
                    <a:lnTo>
                      <a:pt x="18" y="116"/>
                    </a:lnTo>
                    <a:lnTo>
                      <a:pt x="58" y="152"/>
                    </a:lnTo>
                    <a:lnTo>
                      <a:pt x="72" y="109"/>
                    </a:lnTo>
                    <a:lnTo>
                      <a:pt x="95" y="92"/>
                    </a:lnTo>
                    <a:lnTo>
                      <a:pt x="90" y="59"/>
                    </a:lnTo>
                    <a:lnTo>
                      <a:pt x="74" y="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1" name="Freeform 226">
                <a:extLst>
                  <a:ext uri="{FF2B5EF4-FFF2-40B4-BE49-F238E27FC236}">
                    <a16:creationId xmlns:a16="http://schemas.microsoft.com/office/drawing/2014/main" id="{2EF9DCC1-F46A-40FD-84B1-4604450EA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2563" y="5951538"/>
                <a:ext cx="31750" cy="26988"/>
              </a:xfrm>
              <a:custGeom>
                <a:avLst/>
                <a:gdLst>
                  <a:gd name="T0" fmla="*/ 77 w 100"/>
                  <a:gd name="T1" fmla="*/ 51 h 84"/>
                  <a:gd name="T2" fmla="*/ 100 w 100"/>
                  <a:gd name="T3" fmla="*/ 0 h 84"/>
                  <a:gd name="T4" fmla="*/ 46 w 100"/>
                  <a:gd name="T5" fmla="*/ 31 h 84"/>
                  <a:gd name="T6" fmla="*/ 13 w 100"/>
                  <a:gd name="T7" fmla="*/ 38 h 84"/>
                  <a:gd name="T8" fmla="*/ 0 w 100"/>
                  <a:gd name="T9" fmla="*/ 84 h 84"/>
                  <a:gd name="T10" fmla="*/ 46 w 100"/>
                  <a:gd name="T11" fmla="*/ 51 h 84"/>
                  <a:gd name="T12" fmla="*/ 77 w 100"/>
                  <a:gd name="T13" fmla="*/ 5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0" h="84">
                    <a:moveTo>
                      <a:pt x="77" y="51"/>
                    </a:moveTo>
                    <a:lnTo>
                      <a:pt x="100" y="0"/>
                    </a:lnTo>
                    <a:lnTo>
                      <a:pt x="46" y="31"/>
                    </a:lnTo>
                    <a:lnTo>
                      <a:pt x="13" y="38"/>
                    </a:lnTo>
                    <a:lnTo>
                      <a:pt x="0" y="84"/>
                    </a:lnTo>
                    <a:lnTo>
                      <a:pt x="46" y="51"/>
                    </a:lnTo>
                    <a:lnTo>
                      <a:pt x="77" y="5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2" name="Freeform 227">
                <a:extLst>
                  <a:ext uri="{FF2B5EF4-FFF2-40B4-BE49-F238E27FC236}">
                    <a16:creationId xmlns:a16="http://schemas.microsoft.com/office/drawing/2014/main" id="{AA3598C9-674A-4FA4-BA7D-69F98FEDD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538" y="5932488"/>
                <a:ext cx="41275" cy="22225"/>
              </a:xfrm>
              <a:custGeom>
                <a:avLst/>
                <a:gdLst>
                  <a:gd name="T0" fmla="*/ 130 w 130"/>
                  <a:gd name="T1" fmla="*/ 37 h 74"/>
                  <a:gd name="T2" fmla="*/ 127 w 130"/>
                  <a:gd name="T3" fmla="*/ 10 h 74"/>
                  <a:gd name="T4" fmla="*/ 100 w 130"/>
                  <a:gd name="T5" fmla="*/ 10 h 74"/>
                  <a:gd name="T6" fmla="*/ 84 w 130"/>
                  <a:gd name="T7" fmla="*/ 0 h 74"/>
                  <a:gd name="T8" fmla="*/ 67 w 130"/>
                  <a:gd name="T9" fmla="*/ 0 h 74"/>
                  <a:gd name="T10" fmla="*/ 17 w 130"/>
                  <a:gd name="T11" fmla="*/ 15 h 74"/>
                  <a:gd name="T12" fmla="*/ 0 w 130"/>
                  <a:gd name="T13" fmla="*/ 55 h 74"/>
                  <a:gd name="T14" fmla="*/ 40 w 130"/>
                  <a:gd name="T15" fmla="*/ 54 h 74"/>
                  <a:gd name="T16" fmla="*/ 60 w 130"/>
                  <a:gd name="T17" fmla="*/ 74 h 74"/>
                  <a:gd name="T18" fmla="*/ 84 w 130"/>
                  <a:gd name="T19" fmla="*/ 60 h 74"/>
                  <a:gd name="T20" fmla="*/ 80 w 130"/>
                  <a:gd name="T21" fmla="*/ 34 h 74"/>
                  <a:gd name="T22" fmla="*/ 130 w 130"/>
                  <a:gd name="T23" fmla="*/ 3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0" h="74">
                    <a:moveTo>
                      <a:pt x="130" y="37"/>
                    </a:moveTo>
                    <a:lnTo>
                      <a:pt x="127" y="10"/>
                    </a:lnTo>
                    <a:lnTo>
                      <a:pt x="100" y="10"/>
                    </a:lnTo>
                    <a:lnTo>
                      <a:pt x="84" y="0"/>
                    </a:lnTo>
                    <a:lnTo>
                      <a:pt x="67" y="0"/>
                    </a:lnTo>
                    <a:lnTo>
                      <a:pt x="17" y="15"/>
                    </a:lnTo>
                    <a:lnTo>
                      <a:pt x="0" y="55"/>
                    </a:lnTo>
                    <a:lnTo>
                      <a:pt x="40" y="54"/>
                    </a:lnTo>
                    <a:lnTo>
                      <a:pt x="60" y="74"/>
                    </a:lnTo>
                    <a:lnTo>
                      <a:pt x="84" y="60"/>
                    </a:lnTo>
                    <a:lnTo>
                      <a:pt x="80" y="34"/>
                    </a:lnTo>
                    <a:lnTo>
                      <a:pt x="130" y="3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3" name="Freeform 228">
                <a:extLst>
                  <a:ext uri="{FF2B5EF4-FFF2-40B4-BE49-F238E27FC236}">
                    <a16:creationId xmlns:a16="http://schemas.microsoft.com/office/drawing/2014/main" id="{D37C8D5A-7678-45C4-8955-1292D08C5D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4638" y="6049963"/>
                <a:ext cx="41275" cy="31750"/>
              </a:xfrm>
              <a:custGeom>
                <a:avLst/>
                <a:gdLst>
                  <a:gd name="T0" fmla="*/ 86 w 130"/>
                  <a:gd name="T1" fmla="*/ 0 h 100"/>
                  <a:gd name="T2" fmla="*/ 36 w 130"/>
                  <a:gd name="T3" fmla="*/ 4 h 100"/>
                  <a:gd name="T4" fmla="*/ 7 w 130"/>
                  <a:gd name="T5" fmla="*/ 40 h 100"/>
                  <a:gd name="T6" fmla="*/ 0 w 130"/>
                  <a:gd name="T7" fmla="*/ 80 h 100"/>
                  <a:gd name="T8" fmla="*/ 24 w 130"/>
                  <a:gd name="T9" fmla="*/ 100 h 100"/>
                  <a:gd name="T10" fmla="*/ 17 w 130"/>
                  <a:gd name="T11" fmla="*/ 50 h 100"/>
                  <a:gd name="T12" fmla="*/ 61 w 130"/>
                  <a:gd name="T13" fmla="*/ 30 h 100"/>
                  <a:gd name="T14" fmla="*/ 97 w 130"/>
                  <a:gd name="T15" fmla="*/ 37 h 100"/>
                  <a:gd name="T16" fmla="*/ 110 w 130"/>
                  <a:gd name="T17" fmla="*/ 20 h 100"/>
                  <a:gd name="T18" fmla="*/ 130 w 130"/>
                  <a:gd name="T19" fmla="*/ 10 h 100"/>
                  <a:gd name="T20" fmla="*/ 106 w 130"/>
                  <a:gd name="T21" fmla="*/ 0 h 100"/>
                  <a:gd name="T22" fmla="*/ 86 w 130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0" h="100">
                    <a:moveTo>
                      <a:pt x="86" y="0"/>
                    </a:moveTo>
                    <a:lnTo>
                      <a:pt x="36" y="4"/>
                    </a:lnTo>
                    <a:lnTo>
                      <a:pt x="7" y="40"/>
                    </a:lnTo>
                    <a:lnTo>
                      <a:pt x="0" y="80"/>
                    </a:lnTo>
                    <a:lnTo>
                      <a:pt x="24" y="100"/>
                    </a:lnTo>
                    <a:lnTo>
                      <a:pt x="17" y="50"/>
                    </a:lnTo>
                    <a:lnTo>
                      <a:pt x="61" y="30"/>
                    </a:lnTo>
                    <a:lnTo>
                      <a:pt x="97" y="37"/>
                    </a:lnTo>
                    <a:lnTo>
                      <a:pt x="110" y="20"/>
                    </a:lnTo>
                    <a:lnTo>
                      <a:pt x="130" y="10"/>
                    </a:lnTo>
                    <a:lnTo>
                      <a:pt x="106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4" name="Freeform 229">
                <a:extLst>
                  <a:ext uri="{FF2B5EF4-FFF2-40B4-BE49-F238E27FC236}">
                    <a16:creationId xmlns:a16="http://schemas.microsoft.com/office/drawing/2014/main" id="{0244F4CD-FC9E-463A-83AE-AD9CBEB69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9875" y="6026150"/>
                <a:ext cx="15875" cy="19050"/>
              </a:xfrm>
              <a:custGeom>
                <a:avLst/>
                <a:gdLst>
                  <a:gd name="T0" fmla="*/ 0 w 53"/>
                  <a:gd name="T1" fmla="*/ 20 h 57"/>
                  <a:gd name="T2" fmla="*/ 20 w 53"/>
                  <a:gd name="T3" fmla="*/ 23 h 57"/>
                  <a:gd name="T4" fmla="*/ 6 w 53"/>
                  <a:gd name="T5" fmla="*/ 47 h 57"/>
                  <a:gd name="T6" fmla="*/ 13 w 53"/>
                  <a:gd name="T7" fmla="*/ 57 h 57"/>
                  <a:gd name="T8" fmla="*/ 53 w 53"/>
                  <a:gd name="T9" fmla="*/ 40 h 57"/>
                  <a:gd name="T10" fmla="*/ 36 w 53"/>
                  <a:gd name="T11" fmla="*/ 10 h 57"/>
                  <a:gd name="T12" fmla="*/ 6 w 53"/>
                  <a:gd name="T13" fmla="*/ 0 h 57"/>
                  <a:gd name="T14" fmla="*/ 0 w 53"/>
                  <a:gd name="T15" fmla="*/ 2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57">
                    <a:moveTo>
                      <a:pt x="0" y="20"/>
                    </a:moveTo>
                    <a:lnTo>
                      <a:pt x="20" y="23"/>
                    </a:lnTo>
                    <a:lnTo>
                      <a:pt x="6" y="47"/>
                    </a:lnTo>
                    <a:lnTo>
                      <a:pt x="13" y="57"/>
                    </a:lnTo>
                    <a:lnTo>
                      <a:pt x="53" y="40"/>
                    </a:lnTo>
                    <a:lnTo>
                      <a:pt x="36" y="10"/>
                    </a:lnTo>
                    <a:lnTo>
                      <a:pt x="6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5" name="Freeform 230">
                <a:extLst>
                  <a:ext uri="{FF2B5EF4-FFF2-40B4-BE49-F238E27FC236}">
                    <a16:creationId xmlns:a16="http://schemas.microsoft.com/office/drawing/2014/main" id="{442C23D3-8970-4523-85CD-DFAF40A93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825" y="5999163"/>
                <a:ext cx="9525" cy="14288"/>
              </a:xfrm>
              <a:custGeom>
                <a:avLst/>
                <a:gdLst>
                  <a:gd name="T0" fmla="*/ 0 w 26"/>
                  <a:gd name="T1" fmla="*/ 27 h 43"/>
                  <a:gd name="T2" fmla="*/ 3 w 26"/>
                  <a:gd name="T3" fmla="*/ 43 h 43"/>
                  <a:gd name="T4" fmla="*/ 23 w 26"/>
                  <a:gd name="T5" fmla="*/ 40 h 43"/>
                  <a:gd name="T6" fmla="*/ 26 w 26"/>
                  <a:gd name="T7" fmla="*/ 20 h 43"/>
                  <a:gd name="T8" fmla="*/ 9 w 26"/>
                  <a:gd name="T9" fmla="*/ 0 h 43"/>
                  <a:gd name="T10" fmla="*/ 0 w 26"/>
                  <a:gd name="T11" fmla="*/ 2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43">
                    <a:moveTo>
                      <a:pt x="0" y="27"/>
                    </a:moveTo>
                    <a:lnTo>
                      <a:pt x="3" y="43"/>
                    </a:lnTo>
                    <a:lnTo>
                      <a:pt x="23" y="40"/>
                    </a:lnTo>
                    <a:lnTo>
                      <a:pt x="26" y="20"/>
                    </a:lnTo>
                    <a:lnTo>
                      <a:pt x="9" y="0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6" name="Freeform 231">
                <a:extLst>
                  <a:ext uri="{FF2B5EF4-FFF2-40B4-BE49-F238E27FC236}">
                    <a16:creationId xmlns:a16="http://schemas.microsoft.com/office/drawing/2014/main" id="{72744314-98B8-441F-9AF4-439DEAFC97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250" y="5954713"/>
                <a:ext cx="11113" cy="7938"/>
              </a:xfrm>
              <a:custGeom>
                <a:avLst/>
                <a:gdLst>
                  <a:gd name="T0" fmla="*/ 0 w 34"/>
                  <a:gd name="T1" fmla="*/ 24 h 24"/>
                  <a:gd name="T2" fmla="*/ 34 w 34"/>
                  <a:gd name="T3" fmla="*/ 19 h 24"/>
                  <a:gd name="T4" fmla="*/ 9 w 34"/>
                  <a:gd name="T5" fmla="*/ 0 h 24"/>
                  <a:gd name="T6" fmla="*/ 0 w 34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" h="24">
                    <a:moveTo>
                      <a:pt x="0" y="24"/>
                    </a:moveTo>
                    <a:lnTo>
                      <a:pt x="34" y="19"/>
                    </a:lnTo>
                    <a:lnTo>
                      <a:pt x="9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7" name="Freeform 232">
                <a:extLst>
                  <a:ext uri="{FF2B5EF4-FFF2-40B4-BE49-F238E27FC236}">
                    <a16:creationId xmlns:a16="http://schemas.microsoft.com/office/drawing/2014/main" id="{A7C1B48C-E748-4826-906B-DB81452CA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7663" y="6102350"/>
                <a:ext cx="55563" cy="65088"/>
              </a:xfrm>
              <a:custGeom>
                <a:avLst/>
                <a:gdLst>
                  <a:gd name="T0" fmla="*/ 175 w 175"/>
                  <a:gd name="T1" fmla="*/ 0 h 207"/>
                  <a:gd name="T2" fmla="*/ 114 w 175"/>
                  <a:gd name="T3" fmla="*/ 25 h 207"/>
                  <a:gd name="T4" fmla="*/ 68 w 175"/>
                  <a:gd name="T5" fmla="*/ 41 h 207"/>
                  <a:gd name="T6" fmla="*/ 29 w 175"/>
                  <a:gd name="T7" fmla="*/ 95 h 207"/>
                  <a:gd name="T8" fmla="*/ 12 w 175"/>
                  <a:gd name="T9" fmla="*/ 138 h 207"/>
                  <a:gd name="T10" fmla="*/ 0 w 175"/>
                  <a:gd name="T11" fmla="*/ 155 h 207"/>
                  <a:gd name="T12" fmla="*/ 35 w 175"/>
                  <a:gd name="T13" fmla="*/ 154 h 207"/>
                  <a:gd name="T14" fmla="*/ 30 w 175"/>
                  <a:gd name="T15" fmla="*/ 207 h 207"/>
                  <a:gd name="T16" fmla="*/ 90 w 175"/>
                  <a:gd name="T17" fmla="*/ 184 h 207"/>
                  <a:gd name="T18" fmla="*/ 126 w 175"/>
                  <a:gd name="T19" fmla="*/ 110 h 207"/>
                  <a:gd name="T20" fmla="*/ 134 w 175"/>
                  <a:gd name="T21" fmla="*/ 64 h 207"/>
                  <a:gd name="T22" fmla="*/ 175 w 175"/>
                  <a:gd name="T23" fmla="*/ 34 h 207"/>
                  <a:gd name="T24" fmla="*/ 175 w 175"/>
                  <a:gd name="T25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5" h="207">
                    <a:moveTo>
                      <a:pt x="175" y="0"/>
                    </a:moveTo>
                    <a:lnTo>
                      <a:pt x="114" y="25"/>
                    </a:lnTo>
                    <a:lnTo>
                      <a:pt x="68" y="41"/>
                    </a:lnTo>
                    <a:lnTo>
                      <a:pt x="29" y="95"/>
                    </a:lnTo>
                    <a:lnTo>
                      <a:pt x="12" y="138"/>
                    </a:lnTo>
                    <a:lnTo>
                      <a:pt x="0" y="155"/>
                    </a:lnTo>
                    <a:lnTo>
                      <a:pt x="35" y="154"/>
                    </a:lnTo>
                    <a:lnTo>
                      <a:pt x="30" y="207"/>
                    </a:lnTo>
                    <a:lnTo>
                      <a:pt x="90" y="184"/>
                    </a:lnTo>
                    <a:lnTo>
                      <a:pt x="126" y="110"/>
                    </a:lnTo>
                    <a:lnTo>
                      <a:pt x="134" y="64"/>
                    </a:lnTo>
                    <a:lnTo>
                      <a:pt x="175" y="34"/>
                    </a:lnTo>
                    <a:lnTo>
                      <a:pt x="175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8" name="Freeform 233">
                <a:extLst>
                  <a:ext uri="{FF2B5EF4-FFF2-40B4-BE49-F238E27FC236}">
                    <a16:creationId xmlns:a16="http://schemas.microsoft.com/office/drawing/2014/main" id="{F6D89A11-D0A9-4128-8582-9E03F1B68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1538" y="5435600"/>
                <a:ext cx="641350" cy="520700"/>
              </a:xfrm>
              <a:custGeom>
                <a:avLst/>
                <a:gdLst>
                  <a:gd name="T0" fmla="*/ 1096 w 2020"/>
                  <a:gd name="T1" fmla="*/ 1512 h 1640"/>
                  <a:gd name="T2" fmla="*/ 1183 w 2020"/>
                  <a:gd name="T3" fmla="*/ 1606 h 1640"/>
                  <a:gd name="T4" fmla="*/ 1207 w 2020"/>
                  <a:gd name="T5" fmla="*/ 1544 h 1640"/>
                  <a:gd name="T6" fmla="*/ 1199 w 2020"/>
                  <a:gd name="T7" fmla="*/ 1424 h 1640"/>
                  <a:gd name="T8" fmla="*/ 1022 w 2020"/>
                  <a:gd name="T9" fmla="*/ 1326 h 1640"/>
                  <a:gd name="T10" fmla="*/ 887 w 2020"/>
                  <a:gd name="T11" fmla="*/ 1251 h 1640"/>
                  <a:gd name="T12" fmla="*/ 783 w 2020"/>
                  <a:gd name="T13" fmla="*/ 1158 h 1640"/>
                  <a:gd name="T14" fmla="*/ 943 w 2020"/>
                  <a:gd name="T15" fmla="*/ 1105 h 1640"/>
                  <a:gd name="T16" fmla="*/ 878 w 2020"/>
                  <a:gd name="T17" fmla="*/ 1029 h 1640"/>
                  <a:gd name="T18" fmla="*/ 956 w 2020"/>
                  <a:gd name="T19" fmla="*/ 1088 h 1640"/>
                  <a:gd name="T20" fmla="*/ 935 w 2020"/>
                  <a:gd name="T21" fmla="*/ 939 h 1640"/>
                  <a:gd name="T22" fmla="*/ 786 w 2020"/>
                  <a:gd name="T23" fmla="*/ 691 h 1640"/>
                  <a:gd name="T24" fmla="*/ 847 w 2020"/>
                  <a:gd name="T25" fmla="*/ 521 h 1640"/>
                  <a:gd name="T26" fmla="*/ 878 w 2020"/>
                  <a:gd name="T27" fmla="*/ 561 h 1640"/>
                  <a:gd name="T28" fmla="*/ 952 w 2020"/>
                  <a:gd name="T29" fmla="*/ 659 h 1640"/>
                  <a:gd name="T30" fmla="*/ 1040 w 2020"/>
                  <a:gd name="T31" fmla="*/ 782 h 1640"/>
                  <a:gd name="T32" fmla="*/ 1038 w 2020"/>
                  <a:gd name="T33" fmla="*/ 698 h 1640"/>
                  <a:gd name="T34" fmla="*/ 1115 w 2020"/>
                  <a:gd name="T35" fmla="*/ 712 h 1640"/>
                  <a:gd name="T36" fmla="*/ 1125 w 2020"/>
                  <a:gd name="T37" fmla="*/ 658 h 1640"/>
                  <a:gd name="T38" fmla="*/ 1238 w 2020"/>
                  <a:gd name="T39" fmla="*/ 617 h 1640"/>
                  <a:gd name="T40" fmla="*/ 1255 w 2020"/>
                  <a:gd name="T41" fmla="*/ 594 h 1640"/>
                  <a:gd name="T42" fmla="*/ 1161 w 2020"/>
                  <a:gd name="T43" fmla="*/ 538 h 1640"/>
                  <a:gd name="T44" fmla="*/ 1177 w 2020"/>
                  <a:gd name="T45" fmla="*/ 419 h 1640"/>
                  <a:gd name="T46" fmla="*/ 1326 w 2020"/>
                  <a:gd name="T47" fmla="*/ 404 h 1640"/>
                  <a:gd name="T48" fmla="*/ 1470 w 2020"/>
                  <a:gd name="T49" fmla="*/ 390 h 1640"/>
                  <a:gd name="T50" fmla="*/ 1559 w 2020"/>
                  <a:gd name="T51" fmla="*/ 318 h 1640"/>
                  <a:gd name="T52" fmla="*/ 1639 w 2020"/>
                  <a:gd name="T53" fmla="*/ 377 h 1640"/>
                  <a:gd name="T54" fmla="*/ 1836 w 2020"/>
                  <a:gd name="T55" fmla="*/ 439 h 1640"/>
                  <a:gd name="T56" fmla="*/ 1860 w 2020"/>
                  <a:gd name="T57" fmla="*/ 24 h 1640"/>
                  <a:gd name="T58" fmla="*/ 1638 w 2020"/>
                  <a:gd name="T59" fmla="*/ 189 h 1640"/>
                  <a:gd name="T60" fmla="*/ 1001 w 2020"/>
                  <a:gd name="T61" fmla="*/ 151 h 1640"/>
                  <a:gd name="T62" fmla="*/ 529 w 2020"/>
                  <a:gd name="T63" fmla="*/ 372 h 1640"/>
                  <a:gd name="T64" fmla="*/ 301 w 2020"/>
                  <a:gd name="T65" fmla="*/ 490 h 1640"/>
                  <a:gd name="T66" fmla="*/ 147 w 2020"/>
                  <a:gd name="T67" fmla="*/ 793 h 1640"/>
                  <a:gd name="T68" fmla="*/ 36 w 2020"/>
                  <a:gd name="T69" fmla="*/ 872 h 1640"/>
                  <a:gd name="T70" fmla="*/ 88 w 2020"/>
                  <a:gd name="T71" fmla="*/ 976 h 1640"/>
                  <a:gd name="T72" fmla="*/ 193 w 2020"/>
                  <a:gd name="T73" fmla="*/ 1098 h 1640"/>
                  <a:gd name="T74" fmla="*/ 240 w 2020"/>
                  <a:gd name="T75" fmla="*/ 1091 h 1640"/>
                  <a:gd name="T76" fmla="*/ 333 w 2020"/>
                  <a:gd name="T77" fmla="*/ 1176 h 1640"/>
                  <a:gd name="T78" fmla="*/ 214 w 2020"/>
                  <a:gd name="T79" fmla="*/ 1187 h 1640"/>
                  <a:gd name="T80" fmla="*/ 311 w 2020"/>
                  <a:gd name="T81" fmla="*/ 1277 h 1640"/>
                  <a:gd name="T82" fmla="*/ 369 w 2020"/>
                  <a:gd name="T83" fmla="*/ 1395 h 1640"/>
                  <a:gd name="T84" fmla="*/ 482 w 2020"/>
                  <a:gd name="T85" fmla="*/ 1407 h 1640"/>
                  <a:gd name="T86" fmla="*/ 508 w 2020"/>
                  <a:gd name="T87" fmla="*/ 1382 h 1640"/>
                  <a:gd name="T88" fmla="*/ 533 w 2020"/>
                  <a:gd name="T89" fmla="*/ 1378 h 1640"/>
                  <a:gd name="T90" fmla="*/ 692 w 2020"/>
                  <a:gd name="T91" fmla="*/ 1399 h 1640"/>
                  <a:gd name="T92" fmla="*/ 796 w 2020"/>
                  <a:gd name="T93" fmla="*/ 1431 h 1640"/>
                  <a:gd name="T94" fmla="*/ 913 w 2020"/>
                  <a:gd name="T95" fmla="*/ 1460 h 1640"/>
                  <a:gd name="T96" fmla="*/ 963 w 2020"/>
                  <a:gd name="T97" fmla="*/ 1503 h 1640"/>
                  <a:gd name="T98" fmla="*/ 940 w 2020"/>
                  <a:gd name="T99" fmla="*/ 1550 h 1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20" h="1640">
                    <a:moveTo>
                      <a:pt x="1020" y="1545"/>
                    </a:moveTo>
                    <a:lnTo>
                      <a:pt x="1003" y="1525"/>
                    </a:lnTo>
                    <a:lnTo>
                      <a:pt x="1053" y="1505"/>
                    </a:lnTo>
                    <a:lnTo>
                      <a:pt x="1096" y="1512"/>
                    </a:lnTo>
                    <a:lnTo>
                      <a:pt x="1086" y="1545"/>
                    </a:lnTo>
                    <a:lnTo>
                      <a:pt x="1113" y="1561"/>
                    </a:lnTo>
                    <a:lnTo>
                      <a:pt x="1150" y="1607"/>
                    </a:lnTo>
                    <a:lnTo>
                      <a:pt x="1183" y="1606"/>
                    </a:lnTo>
                    <a:lnTo>
                      <a:pt x="1211" y="1640"/>
                    </a:lnTo>
                    <a:lnTo>
                      <a:pt x="1264" y="1630"/>
                    </a:lnTo>
                    <a:lnTo>
                      <a:pt x="1240" y="1586"/>
                    </a:lnTo>
                    <a:lnTo>
                      <a:pt x="1207" y="1544"/>
                    </a:lnTo>
                    <a:lnTo>
                      <a:pt x="1220" y="1524"/>
                    </a:lnTo>
                    <a:lnTo>
                      <a:pt x="1209" y="1507"/>
                    </a:lnTo>
                    <a:lnTo>
                      <a:pt x="1226" y="1454"/>
                    </a:lnTo>
                    <a:lnTo>
                      <a:pt x="1199" y="1424"/>
                    </a:lnTo>
                    <a:lnTo>
                      <a:pt x="1122" y="1388"/>
                    </a:lnTo>
                    <a:lnTo>
                      <a:pt x="1098" y="1349"/>
                    </a:lnTo>
                    <a:lnTo>
                      <a:pt x="1048" y="1346"/>
                    </a:lnTo>
                    <a:lnTo>
                      <a:pt x="1022" y="1326"/>
                    </a:lnTo>
                    <a:lnTo>
                      <a:pt x="1004" y="1277"/>
                    </a:lnTo>
                    <a:lnTo>
                      <a:pt x="930" y="1234"/>
                    </a:lnTo>
                    <a:lnTo>
                      <a:pt x="930" y="1258"/>
                    </a:lnTo>
                    <a:lnTo>
                      <a:pt x="887" y="1251"/>
                    </a:lnTo>
                    <a:lnTo>
                      <a:pt x="887" y="1221"/>
                    </a:lnTo>
                    <a:lnTo>
                      <a:pt x="837" y="1199"/>
                    </a:lnTo>
                    <a:lnTo>
                      <a:pt x="777" y="1195"/>
                    </a:lnTo>
                    <a:lnTo>
                      <a:pt x="783" y="1158"/>
                    </a:lnTo>
                    <a:lnTo>
                      <a:pt x="833" y="1169"/>
                    </a:lnTo>
                    <a:lnTo>
                      <a:pt x="877" y="1179"/>
                    </a:lnTo>
                    <a:lnTo>
                      <a:pt x="909" y="1161"/>
                    </a:lnTo>
                    <a:lnTo>
                      <a:pt x="943" y="1105"/>
                    </a:lnTo>
                    <a:lnTo>
                      <a:pt x="899" y="1095"/>
                    </a:lnTo>
                    <a:lnTo>
                      <a:pt x="882" y="1075"/>
                    </a:lnTo>
                    <a:lnTo>
                      <a:pt x="896" y="1058"/>
                    </a:lnTo>
                    <a:lnTo>
                      <a:pt x="878" y="1029"/>
                    </a:lnTo>
                    <a:lnTo>
                      <a:pt x="915" y="991"/>
                    </a:lnTo>
                    <a:lnTo>
                      <a:pt x="965" y="1048"/>
                    </a:lnTo>
                    <a:lnTo>
                      <a:pt x="993" y="1081"/>
                    </a:lnTo>
                    <a:lnTo>
                      <a:pt x="956" y="1088"/>
                    </a:lnTo>
                    <a:lnTo>
                      <a:pt x="956" y="1111"/>
                    </a:lnTo>
                    <a:lnTo>
                      <a:pt x="1016" y="1124"/>
                    </a:lnTo>
                    <a:lnTo>
                      <a:pt x="1025" y="1030"/>
                    </a:lnTo>
                    <a:lnTo>
                      <a:pt x="935" y="939"/>
                    </a:lnTo>
                    <a:lnTo>
                      <a:pt x="891" y="922"/>
                    </a:lnTo>
                    <a:lnTo>
                      <a:pt x="880" y="837"/>
                    </a:lnTo>
                    <a:lnTo>
                      <a:pt x="807" y="767"/>
                    </a:lnTo>
                    <a:lnTo>
                      <a:pt x="786" y="691"/>
                    </a:lnTo>
                    <a:lnTo>
                      <a:pt x="801" y="642"/>
                    </a:lnTo>
                    <a:lnTo>
                      <a:pt x="784" y="588"/>
                    </a:lnTo>
                    <a:lnTo>
                      <a:pt x="814" y="541"/>
                    </a:lnTo>
                    <a:lnTo>
                      <a:pt x="847" y="521"/>
                    </a:lnTo>
                    <a:lnTo>
                      <a:pt x="853" y="484"/>
                    </a:lnTo>
                    <a:lnTo>
                      <a:pt x="904" y="498"/>
                    </a:lnTo>
                    <a:lnTo>
                      <a:pt x="894" y="535"/>
                    </a:lnTo>
                    <a:lnTo>
                      <a:pt x="878" y="561"/>
                    </a:lnTo>
                    <a:lnTo>
                      <a:pt x="888" y="594"/>
                    </a:lnTo>
                    <a:lnTo>
                      <a:pt x="898" y="620"/>
                    </a:lnTo>
                    <a:lnTo>
                      <a:pt x="938" y="614"/>
                    </a:lnTo>
                    <a:lnTo>
                      <a:pt x="952" y="659"/>
                    </a:lnTo>
                    <a:lnTo>
                      <a:pt x="1012" y="673"/>
                    </a:lnTo>
                    <a:lnTo>
                      <a:pt x="1025" y="708"/>
                    </a:lnTo>
                    <a:lnTo>
                      <a:pt x="1013" y="759"/>
                    </a:lnTo>
                    <a:lnTo>
                      <a:pt x="1040" y="782"/>
                    </a:lnTo>
                    <a:lnTo>
                      <a:pt x="1050" y="765"/>
                    </a:lnTo>
                    <a:lnTo>
                      <a:pt x="1096" y="798"/>
                    </a:lnTo>
                    <a:lnTo>
                      <a:pt x="1137" y="777"/>
                    </a:lnTo>
                    <a:lnTo>
                      <a:pt x="1038" y="698"/>
                    </a:lnTo>
                    <a:lnTo>
                      <a:pt x="1048" y="665"/>
                    </a:lnTo>
                    <a:lnTo>
                      <a:pt x="1079" y="652"/>
                    </a:lnTo>
                    <a:lnTo>
                      <a:pt x="1112" y="672"/>
                    </a:lnTo>
                    <a:lnTo>
                      <a:pt x="1115" y="712"/>
                    </a:lnTo>
                    <a:lnTo>
                      <a:pt x="1162" y="754"/>
                    </a:lnTo>
                    <a:lnTo>
                      <a:pt x="1209" y="747"/>
                    </a:lnTo>
                    <a:lnTo>
                      <a:pt x="1209" y="707"/>
                    </a:lnTo>
                    <a:lnTo>
                      <a:pt x="1125" y="658"/>
                    </a:lnTo>
                    <a:lnTo>
                      <a:pt x="1121" y="615"/>
                    </a:lnTo>
                    <a:lnTo>
                      <a:pt x="1188" y="591"/>
                    </a:lnTo>
                    <a:lnTo>
                      <a:pt x="1215" y="617"/>
                    </a:lnTo>
                    <a:lnTo>
                      <a:pt x="1238" y="617"/>
                    </a:lnTo>
                    <a:lnTo>
                      <a:pt x="1295" y="679"/>
                    </a:lnTo>
                    <a:lnTo>
                      <a:pt x="1332" y="649"/>
                    </a:lnTo>
                    <a:lnTo>
                      <a:pt x="1301" y="620"/>
                    </a:lnTo>
                    <a:lnTo>
                      <a:pt x="1255" y="594"/>
                    </a:lnTo>
                    <a:lnTo>
                      <a:pt x="1218" y="541"/>
                    </a:lnTo>
                    <a:lnTo>
                      <a:pt x="1215" y="568"/>
                    </a:lnTo>
                    <a:lnTo>
                      <a:pt x="1174" y="561"/>
                    </a:lnTo>
                    <a:lnTo>
                      <a:pt x="1161" y="538"/>
                    </a:lnTo>
                    <a:lnTo>
                      <a:pt x="1183" y="515"/>
                    </a:lnTo>
                    <a:lnTo>
                      <a:pt x="1143" y="499"/>
                    </a:lnTo>
                    <a:lnTo>
                      <a:pt x="1140" y="462"/>
                    </a:lnTo>
                    <a:lnTo>
                      <a:pt x="1177" y="419"/>
                    </a:lnTo>
                    <a:lnTo>
                      <a:pt x="1230" y="451"/>
                    </a:lnTo>
                    <a:lnTo>
                      <a:pt x="1247" y="451"/>
                    </a:lnTo>
                    <a:lnTo>
                      <a:pt x="1296" y="438"/>
                    </a:lnTo>
                    <a:lnTo>
                      <a:pt x="1326" y="404"/>
                    </a:lnTo>
                    <a:lnTo>
                      <a:pt x="1326" y="381"/>
                    </a:lnTo>
                    <a:lnTo>
                      <a:pt x="1416" y="376"/>
                    </a:lnTo>
                    <a:lnTo>
                      <a:pt x="1433" y="393"/>
                    </a:lnTo>
                    <a:lnTo>
                      <a:pt x="1470" y="390"/>
                    </a:lnTo>
                    <a:lnTo>
                      <a:pt x="1502" y="380"/>
                    </a:lnTo>
                    <a:lnTo>
                      <a:pt x="1519" y="356"/>
                    </a:lnTo>
                    <a:lnTo>
                      <a:pt x="1515" y="326"/>
                    </a:lnTo>
                    <a:lnTo>
                      <a:pt x="1559" y="318"/>
                    </a:lnTo>
                    <a:lnTo>
                      <a:pt x="1539" y="352"/>
                    </a:lnTo>
                    <a:lnTo>
                      <a:pt x="1555" y="385"/>
                    </a:lnTo>
                    <a:lnTo>
                      <a:pt x="1582" y="372"/>
                    </a:lnTo>
                    <a:lnTo>
                      <a:pt x="1639" y="377"/>
                    </a:lnTo>
                    <a:lnTo>
                      <a:pt x="1719" y="411"/>
                    </a:lnTo>
                    <a:lnTo>
                      <a:pt x="1756" y="437"/>
                    </a:lnTo>
                    <a:lnTo>
                      <a:pt x="1803" y="440"/>
                    </a:lnTo>
                    <a:lnTo>
                      <a:pt x="1836" y="439"/>
                    </a:lnTo>
                    <a:lnTo>
                      <a:pt x="1984" y="255"/>
                    </a:lnTo>
                    <a:lnTo>
                      <a:pt x="2020" y="72"/>
                    </a:lnTo>
                    <a:lnTo>
                      <a:pt x="1955" y="0"/>
                    </a:lnTo>
                    <a:lnTo>
                      <a:pt x="1860" y="24"/>
                    </a:lnTo>
                    <a:lnTo>
                      <a:pt x="1883" y="67"/>
                    </a:lnTo>
                    <a:lnTo>
                      <a:pt x="1883" y="120"/>
                    </a:lnTo>
                    <a:lnTo>
                      <a:pt x="1837" y="157"/>
                    </a:lnTo>
                    <a:lnTo>
                      <a:pt x="1638" y="189"/>
                    </a:lnTo>
                    <a:lnTo>
                      <a:pt x="1443" y="111"/>
                    </a:lnTo>
                    <a:lnTo>
                      <a:pt x="1310" y="79"/>
                    </a:lnTo>
                    <a:lnTo>
                      <a:pt x="1154" y="167"/>
                    </a:lnTo>
                    <a:lnTo>
                      <a:pt x="1001" y="151"/>
                    </a:lnTo>
                    <a:lnTo>
                      <a:pt x="891" y="235"/>
                    </a:lnTo>
                    <a:lnTo>
                      <a:pt x="775" y="286"/>
                    </a:lnTo>
                    <a:lnTo>
                      <a:pt x="615" y="284"/>
                    </a:lnTo>
                    <a:lnTo>
                      <a:pt x="529" y="372"/>
                    </a:lnTo>
                    <a:lnTo>
                      <a:pt x="422" y="372"/>
                    </a:lnTo>
                    <a:lnTo>
                      <a:pt x="362" y="340"/>
                    </a:lnTo>
                    <a:lnTo>
                      <a:pt x="290" y="390"/>
                    </a:lnTo>
                    <a:lnTo>
                      <a:pt x="301" y="490"/>
                    </a:lnTo>
                    <a:lnTo>
                      <a:pt x="287" y="556"/>
                    </a:lnTo>
                    <a:lnTo>
                      <a:pt x="232" y="613"/>
                    </a:lnTo>
                    <a:lnTo>
                      <a:pt x="159" y="726"/>
                    </a:lnTo>
                    <a:lnTo>
                      <a:pt x="147" y="793"/>
                    </a:lnTo>
                    <a:lnTo>
                      <a:pt x="67" y="833"/>
                    </a:lnTo>
                    <a:lnTo>
                      <a:pt x="0" y="845"/>
                    </a:lnTo>
                    <a:lnTo>
                      <a:pt x="13" y="869"/>
                    </a:lnTo>
                    <a:lnTo>
                      <a:pt x="36" y="872"/>
                    </a:lnTo>
                    <a:lnTo>
                      <a:pt x="33" y="892"/>
                    </a:lnTo>
                    <a:lnTo>
                      <a:pt x="53" y="921"/>
                    </a:lnTo>
                    <a:lnTo>
                      <a:pt x="56" y="972"/>
                    </a:lnTo>
                    <a:lnTo>
                      <a:pt x="88" y="976"/>
                    </a:lnTo>
                    <a:lnTo>
                      <a:pt x="75" y="996"/>
                    </a:lnTo>
                    <a:lnTo>
                      <a:pt x="116" y="1056"/>
                    </a:lnTo>
                    <a:lnTo>
                      <a:pt x="169" y="1058"/>
                    </a:lnTo>
                    <a:lnTo>
                      <a:pt x="193" y="1098"/>
                    </a:lnTo>
                    <a:lnTo>
                      <a:pt x="199" y="1134"/>
                    </a:lnTo>
                    <a:lnTo>
                      <a:pt x="213" y="1151"/>
                    </a:lnTo>
                    <a:lnTo>
                      <a:pt x="223" y="1124"/>
                    </a:lnTo>
                    <a:lnTo>
                      <a:pt x="240" y="1091"/>
                    </a:lnTo>
                    <a:lnTo>
                      <a:pt x="260" y="1117"/>
                    </a:lnTo>
                    <a:lnTo>
                      <a:pt x="310" y="1114"/>
                    </a:lnTo>
                    <a:lnTo>
                      <a:pt x="326" y="1133"/>
                    </a:lnTo>
                    <a:lnTo>
                      <a:pt x="333" y="1176"/>
                    </a:lnTo>
                    <a:lnTo>
                      <a:pt x="306" y="1166"/>
                    </a:lnTo>
                    <a:lnTo>
                      <a:pt x="280" y="1141"/>
                    </a:lnTo>
                    <a:lnTo>
                      <a:pt x="233" y="1154"/>
                    </a:lnTo>
                    <a:lnTo>
                      <a:pt x="214" y="1187"/>
                    </a:lnTo>
                    <a:lnTo>
                      <a:pt x="227" y="1221"/>
                    </a:lnTo>
                    <a:lnTo>
                      <a:pt x="274" y="1230"/>
                    </a:lnTo>
                    <a:lnTo>
                      <a:pt x="284" y="1283"/>
                    </a:lnTo>
                    <a:lnTo>
                      <a:pt x="311" y="1277"/>
                    </a:lnTo>
                    <a:lnTo>
                      <a:pt x="308" y="1309"/>
                    </a:lnTo>
                    <a:lnTo>
                      <a:pt x="335" y="1346"/>
                    </a:lnTo>
                    <a:lnTo>
                      <a:pt x="345" y="1382"/>
                    </a:lnTo>
                    <a:lnTo>
                      <a:pt x="369" y="1395"/>
                    </a:lnTo>
                    <a:lnTo>
                      <a:pt x="375" y="1371"/>
                    </a:lnTo>
                    <a:lnTo>
                      <a:pt x="398" y="1345"/>
                    </a:lnTo>
                    <a:lnTo>
                      <a:pt x="432" y="1395"/>
                    </a:lnTo>
                    <a:lnTo>
                      <a:pt x="482" y="1407"/>
                    </a:lnTo>
                    <a:lnTo>
                      <a:pt x="482" y="1407"/>
                    </a:lnTo>
                    <a:lnTo>
                      <a:pt x="487" y="1402"/>
                    </a:lnTo>
                    <a:lnTo>
                      <a:pt x="497" y="1392"/>
                    </a:lnTo>
                    <a:lnTo>
                      <a:pt x="508" y="1382"/>
                    </a:lnTo>
                    <a:lnTo>
                      <a:pt x="514" y="1378"/>
                    </a:lnTo>
                    <a:lnTo>
                      <a:pt x="518" y="1377"/>
                    </a:lnTo>
                    <a:lnTo>
                      <a:pt x="518" y="1377"/>
                    </a:lnTo>
                    <a:lnTo>
                      <a:pt x="533" y="1378"/>
                    </a:lnTo>
                    <a:lnTo>
                      <a:pt x="553" y="1380"/>
                    </a:lnTo>
                    <a:lnTo>
                      <a:pt x="578" y="1384"/>
                    </a:lnTo>
                    <a:lnTo>
                      <a:pt x="659" y="1372"/>
                    </a:lnTo>
                    <a:lnTo>
                      <a:pt x="692" y="1399"/>
                    </a:lnTo>
                    <a:lnTo>
                      <a:pt x="735" y="1376"/>
                    </a:lnTo>
                    <a:lnTo>
                      <a:pt x="772" y="1398"/>
                    </a:lnTo>
                    <a:lnTo>
                      <a:pt x="786" y="1388"/>
                    </a:lnTo>
                    <a:lnTo>
                      <a:pt x="796" y="1431"/>
                    </a:lnTo>
                    <a:lnTo>
                      <a:pt x="842" y="1434"/>
                    </a:lnTo>
                    <a:lnTo>
                      <a:pt x="836" y="1391"/>
                    </a:lnTo>
                    <a:lnTo>
                      <a:pt x="886" y="1447"/>
                    </a:lnTo>
                    <a:lnTo>
                      <a:pt x="913" y="1460"/>
                    </a:lnTo>
                    <a:lnTo>
                      <a:pt x="939" y="1453"/>
                    </a:lnTo>
                    <a:lnTo>
                      <a:pt x="979" y="1469"/>
                    </a:lnTo>
                    <a:lnTo>
                      <a:pt x="993" y="1499"/>
                    </a:lnTo>
                    <a:lnTo>
                      <a:pt x="963" y="1503"/>
                    </a:lnTo>
                    <a:lnTo>
                      <a:pt x="926" y="1493"/>
                    </a:lnTo>
                    <a:lnTo>
                      <a:pt x="886" y="1513"/>
                    </a:lnTo>
                    <a:lnTo>
                      <a:pt x="916" y="1530"/>
                    </a:lnTo>
                    <a:lnTo>
                      <a:pt x="940" y="1550"/>
                    </a:lnTo>
                    <a:lnTo>
                      <a:pt x="1020" y="154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99" name="Freeform 238">
                <a:extLst>
                  <a:ext uri="{FF2B5EF4-FFF2-40B4-BE49-F238E27FC236}">
                    <a16:creationId xmlns:a16="http://schemas.microsoft.com/office/drawing/2014/main" id="{D220D4F5-AC0A-452F-BE8C-892BB0F5F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9250" y="6083300"/>
                <a:ext cx="11113" cy="9525"/>
              </a:xfrm>
              <a:custGeom>
                <a:avLst/>
                <a:gdLst>
                  <a:gd name="T0" fmla="*/ 0 w 37"/>
                  <a:gd name="T1" fmla="*/ 30 h 30"/>
                  <a:gd name="T2" fmla="*/ 29 w 37"/>
                  <a:gd name="T3" fmla="*/ 28 h 30"/>
                  <a:gd name="T4" fmla="*/ 37 w 37"/>
                  <a:gd name="T5" fmla="*/ 6 h 30"/>
                  <a:gd name="T6" fmla="*/ 24 w 37"/>
                  <a:gd name="T7" fmla="*/ 0 h 30"/>
                  <a:gd name="T8" fmla="*/ 0 w 37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0" y="30"/>
                    </a:moveTo>
                    <a:lnTo>
                      <a:pt x="29" y="28"/>
                    </a:lnTo>
                    <a:lnTo>
                      <a:pt x="37" y="6"/>
                    </a:lnTo>
                    <a:lnTo>
                      <a:pt x="24" y="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42" name="Freeform 240">
              <a:extLst>
                <a:ext uri="{FF2B5EF4-FFF2-40B4-BE49-F238E27FC236}">
                  <a16:creationId xmlns:a16="http://schemas.microsoft.com/office/drawing/2014/main" id="{02D39F39-5AE9-434D-9DF3-02D401EE3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5243513"/>
              <a:ext cx="0" cy="1588"/>
            </a:xfrm>
            <a:custGeom>
              <a:avLst/>
              <a:gdLst>
                <a:gd name="T0" fmla="*/ 2 w 3"/>
                <a:gd name="T1" fmla="*/ 5 h 5"/>
                <a:gd name="T2" fmla="*/ 0 w 3"/>
                <a:gd name="T3" fmla="*/ 2 h 5"/>
                <a:gd name="T4" fmla="*/ 3 w 3"/>
                <a:gd name="T5" fmla="*/ 0 h 5"/>
                <a:gd name="T6" fmla="*/ 2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2" y="5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C288F05F-6C91-4D55-B00E-91D7C5624EDD}"/>
                </a:ext>
              </a:extLst>
            </p:cNvPr>
            <p:cNvGrpSpPr/>
            <p:nvPr/>
          </p:nvGrpSpPr>
          <p:grpSpPr>
            <a:xfrm>
              <a:off x="1885950" y="5200650"/>
              <a:ext cx="1309688" cy="952500"/>
              <a:chOff x="1885950" y="5200650"/>
              <a:chExt cx="1309688" cy="952500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146" name="Freeform 241">
                <a:extLst>
                  <a:ext uri="{FF2B5EF4-FFF2-40B4-BE49-F238E27FC236}">
                    <a16:creationId xmlns:a16="http://schemas.microsoft.com/office/drawing/2014/main" id="{9EC879B6-1820-47FA-987D-416552A68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8300" y="5819775"/>
                <a:ext cx="30163" cy="20638"/>
              </a:xfrm>
              <a:custGeom>
                <a:avLst/>
                <a:gdLst>
                  <a:gd name="T0" fmla="*/ 37 w 94"/>
                  <a:gd name="T1" fmla="*/ 30 h 69"/>
                  <a:gd name="T2" fmla="*/ 17 w 94"/>
                  <a:gd name="T3" fmla="*/ 0 h 69"/>
                  <a:gd name="T4" fmla="*/ 0 w 94"/>
                  <a:gd name="T5" fmla="*/ 37 h 69"/>
                  <a:gd name="T6" fmla="*/ 14 w 94"/>
                  <a:gd name="T7" fmla="*/ 60 h 69"/>
                  <a:gd name="T8" fmla="*/ 37 w 94"/>
                  <a:gd name="T9" fmla="*/ 47 h 69"/>
                  <a:gd name="T10" fmla="*/ 77 w 94"/>
                  <a:gd name="T11" fmla="*/ 49 h 69"/>
                  <a:gd name="T12" fmla="*/ 94 w 94"/>
                  <a:gd name="T13" fmla="*/ 69 h 69"/>
                  <a:gd name="T14" fmla="*/ 87 w 94"/>
                  <a:gd name="T15" fmla="*/ 32 h 69"/>
                  <a:gd name="T16" fmla="*/ 37 w 94"/>
                  <a:gd name="T17" fmla="*/ 3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" h="69">
                    <a:moveTo>
                      <a:pt x="37" y="30"/>
                    </a:moveTo>
                    <a:lnTo>
                      <a:pt x="17" y="0"/>
                    </a:lnTo>
                    <a:lnTo>
                      <a:pt x="0" y="37"/>
                    </a:lnTo>
                    <a:lnTo>
                      <a:pt x="14" y="60"/>
                    </a:lnTo>
                    <a:lnTo>
                      <a:pt x="37" y="47"/>
                    </a:lnTo>
                    <a:lnTo>
                      <a:pt x="77" y="49"/>
                    </a:lnTo>
                    <a:lnTo>
                      <a:pt x="94" y="69"/>
                    </a:lnTo>
                    <a:lnTo>
                      <a:pt x="87" y="32"/>
                    </a:lnTo>
                    <a:lnTo>
                      <a:pt x="37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7" name="Freeform 242">
                <a:extLst>
                  <a:ext uri="{FF2B5EF4-FFF2-40B4-BE49-F238E27FC236}">
                    <a16:creationId xmlns:a16="http://schemas.microsoft.com/office/drawing/2014/main" id="{4C750DC8-7077-441B-BED4-7DE2DEA54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5" y="5775325"/>
                <a:ext cx="42863" cy="41275"/>
              </a:xfrm>
              <a:custGeom>
                <a:avLst/>
                <a:gdLst>
                  <a:gd name="T0" fmla="*/ 74 w 133"/>
                  <a:gd name="T1" fmla="*/ 120 h 127"/>
                  <a:gd name="T2" fmla="*/ 130 w 133"/>
                  <a:gd name="T3" fmla="*/ 26 h 127"/>
                  <a:gd name="T4" fmla="*/ 133 w 133"/>
                  <a:gd name="T5" fmla="*/ 0 h 127"/>
                  <a:gd name="T6" fmla="*/ 77 w 133"/>
                  <a:gd name="T7" fmla="*/ 4 h 127"/>
                  <a:gd name="T8" fmla="*/ 23 w 133"/>
                  <a:gd name="T9" fmla="*/ 44 h 127"/>
                  <a:gd name="T10" fmla="*/ 0 w 133"/>
                  <a:gd name="T11" fmla="*/ 94 h 127"/>
                  <a:gd name="T12" fmla="*/ 18 w 133"/>
                  <a:gd name="T13" fmla="*/ 118 h 127"/>
                  <a:gd name="T14" fmla="*/ 50 w 133"/>
                  <a:gd name="T15" fmla="*/ 107 h 127"/>
                  <a:gd name="T16" fmla="*/ 61 w 133"/>
                  <a:gd name="T17" fmla="*/ 127 h 127"/>
                  <a:gd name="T18" fmla="*/ 74 w 133"/>
                  <a:gd name="T19" fmla="*/ 12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" h="127">
                    <a:moveTo>
                      <a:pt x="74" y="120"/>
                    </a:moveTo>
                    <a:lnTo>
                      <a:pt x="130" y="26"/>
                    </a:lnTo>
                    <a:lnTo>
                      <a:pt x="133" y="0"/>
                    </a:lnTo>
                    <a:lnTo>
                      <a:pt x="77" y="4"/>
                    </a:lnTo>
                    <a:lnTo>
                      <a:pt x="23" y="44"/>
                    </a:lnTo>
                    <a:lnTo>
                      <a:pt x="0" y="94"/>
                    </a:lnTo>
                    <a:lnTo>
                      <a:pt x="18" y="118"/>
                    </a:lnTo>
                    <a:lnTo>
                      <a:pt x="50" y="107"/>
                    </a:lnTo>
                    <a:lnTo>
                      <a:pt x="61" y="127"/>
                    </a:lnTo>
                    <a:lnTo>
                      <a:pt x="74" y="12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8" name="Freeform 243">
                <a:extLst>
                  <a:ext uri="{FF2B5EF4-FFF2-40B4-BE49-F238E27FC236}">
                    <a16:creationId xmlns:a16="http://schemas.microsoft.com/office/drawing/2014/main" id="{825655FA-0BC1-458C-8F83-689B09B8E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3550" y="5667375"/>
                <a:ext cx="107950" cy="93663"/>
              </a:xfrm>
              <a:custGeom>
                <a:avLst/>
                <a:gdLst>
                  <a:gd name="T0" fmla="*/ 309 w 340"/>
                  <a:gd name="T1" fmla="*/ 99 h 295"/>
                  <a:gd name="T2" fmla="*/ 256 w 340"/>
                  <a:gd name="T3" fmla="*/ 103 h 295"/>
                  <a:gd name="T4" fmla="*/ 249 w 340"/>
                  <a:gd name="T5" fmla="*/ 82 h 295"/>
                  <a:gd name="T6" fmla="*/ 269 w 340"/>
                  <a:gd name="T7" fmla="*/ 49 h 295"/>
                  <a:gd name="T8" fmla="*/ 236 w 340"/>
                  <a:gd name="T9" fmla="*/ 66 h 295"/>
                  <a:gd name="T10" fmla="*/ 239 w 340"/>
                  <a:gd name="T11" fmla="*/ 50 h 295"/>
                  <a:gd name="T12" fmla="*/ 285 w 340"/>
                  <a:gd name="T13" fmla="*/ 12 h 295"/>
                  <a:gd name="T14" fmla="*/ 278 w 340"/>
                  <a:gd name="T15" fmla="*/ 0 h 295"/>
                  <a:gd name="T16" fmla="*/ 166 w 340"/>
                  <a:gd name="T17" fmla="*/ 43 h 295"/>
                  <a:gd name="T18" fmla="*/ 119 w 340"/>
                  <a:gd name="T19" fmla="*/ 67 h 295"/>
                  <a:gd name="T20" fmla="*/ 53 w 340"/>
                  <a:gd name="T21" fmla="*/ 115 h 295"/>
                  <a:gd name="T22" fmla="*/ 0 w 340"/>
                  <a:gd name="T23" fmla="*/ 142 h 295"/>
                  <a:gd name="T24" fmla="*/ 8 w 340"/>
                  <a:gd name="T25" fmla="*/ 217 h 295"/>
                  <a:gd name="T26" fmla="*/ 38 w 340"/>
                  <a:gd name="T27" fmla="*/ 224 h 295"/>
                  <a:gd name="T28" fmla="*/ 40 w 340"/>
                  <a:gd name="T29" fmla="*/ 180 h 295"/>
                  <a:gd name="T30" fmla="*/ 90 w 340"/>
                  <a:gd name="T31" fmla="*/ 174 h 295"/>
                  <a:gd name="T32" fmla="*/ 120 w 340"/>
                  <a:gd name="T33" fmla="*/ 197 h 295"/>
                  <a:gd name="T34" fmla="*/ 118 w 340"/>
                  <a:gd name="T35" fmla="*/ 246 h 295"/>
                  <a:gd name="T36" fmla="*/ 171 w 340"/>
                  <a:gd name="T37" fmla="*/ 263 h 295"/>
                  <a:gd name="T38" fmla="*/ 205 w 340"/>
                  <a:gd name="T39" fmla="*/ 282 h 295"/>
                  <a:gd name="T40" fmla="*/ 205 w 340"/>
                  <a:gd name="T41" fmla="*/ 295 h 295"/>
                  <a:gd name="T42" fmla="*/ 274 w 340"/>
                  <a:gd name="T43" fmla="*/ 269 h 295"/>
                  <a:gd name="T44" fmla="*/ 294 w 340"/>
                  <a:gd name="T45" fmla="*/ 228 h 295"/>
                  <a:gd name="T46" fmla="*/ 314 w 340"/>
                  <a:gd name="T47" fmla="*/ 192 h 295"/>
                  <a:gd name="T48" fmla="*/ 340 w 340"/>
                  <a:gd name="T49" fmla="*/ 145 h 295"/>
                  <a:gd name="T50" fmla="*/ 333 w 340"/>
                  <a:gd name="T51" fmla="*/ 105 h 295"/>
                  <a:gd name="T52" fmla="*/ 309 w 340"/>
                  <a:gd name="T53" fmla="*/ 99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0" h="295">
                    <a:moveTo>
                      <a:pt x="309" y="99"/>
                    </a:moveTo>
                    <a:lnTo>
                      <a:pt x="256" y="103"/>
                    </a:lnTo>
                    <a:lnTo>
                      <a:pt x="249" y="82"/>
                    </a:lnTo>
                    <a:lnTo>
                      <a:pt x="269" y="49"/>
                    </a:lnTo>
                    <a:lnTo>
                      <a:pt x="236" y="66"/>
                    </a:lnTo>
                    <a:lnTo>
                      <a:pt x="239" y="50"/>
                    </a:lnTo>
                    <a:lnTo>
                      <a:pt x="285" y="12"/>
                    </a:lnTo>
                    <a:lnTo>
                      <a:pt x="278" y="0"/>
                    </a:lnTo>
                    <a:lnTo>
                      <a:pt x="166" y="43"/>
                    </a:lnTo>
                    <a:lnTo>
                      <a:pt x="119" y="67"/>
                    </a:lnTo>
                    <a:lnTo>
                      <a:pt x="53" y="115"/>
                    </a:lnTo>
                    <a:lnTo>
                      <a:pt x="0" y="142"/>
                    </a:lnTo>
                    <a:lnTo>
                      <a:pt x="8" y="217"/>
                    </a:lnTo>
                    <a:lnTo>
                      <a:pt x="38" y="224"/>
                    </a:lnTo>
                    <a:lnTo>
                      <a:pt x="40" y="180"/>
                    </a:lnTo>
                    <a:lnTo>
                      <a:pt x="90" y="174"/>
                    </a:lnTo>
                    <a:lnTo>
                      <a:pt x="120" y="197"/>
                    </a:lnTo>
                    <a:lnTo>
                      <a:pt x="118" y="246"/>
                    </a:lnTo>
                    <a:lnTo>
                      <a:pt x="171" y="263"/>
                    </a:lnTo>
                    <a:lnTo>
                      <a:pt x="205" y="282"/>
                    </a:lnTo>
                    <a:lnTo>
                      <a:pt x="205" y="295"/>
                    </a:lnTo>
                    <a:lnTo>
                      <a:pt x="274" y="269"/>
                    </a:lnTo>
                    <a:lnTo>
                      <a:pt x="294" y="228"/>
                    </a:lnTo>
                    <a:lnTo>
                      <a:pt x="314" y="192"/>
                    </a:lnTo>
                    <a:lnTo>
                      <a:pt x="340" y="145"/>
                    </a:lnTo>
                    <a:lnTo>
                      <a:pt x="333" y="105"/>
                    </a:lnTo>
                    <a:lnTo>
                      <a:pt x="309" y="9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9" name="Freeform 244">
                <a:extLst>
                  <a:ext uri="{FF2B5EF4-FFF2-40B4-BE49-F238E27FC236}">
                    <a16:creationId xmlns:a16="http://schemas.microsoft.com/office/drawing/2014/main" id="{4EF0375F-0FD7-41A6-BFD0-769ABDD8EC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5313" y="5661025"/>
                <a:ext cx="60325" cy="33338"/>
              </a:xfrm>
              <a:custGeom>
                <a:avLst/>
                <a:gdLst>
                  <a:gd name="T0" fmla="*/ 186 w 190"/>
                  <a:gd name="T1" fmla="*/ 46 h 107"/>
                  <a:gd name="T2" fmla="*/ 122 w 190"/>
                  <a:gd name="T3" fmla="*/ 0 h 107"/>
                  <a:gd name="T4" fmla="*/ 0 w 190"/>
                  <a:gd name="T5" fmla="*/ 17 h 107"/>
                  <a:gd name="T6" fmla="*/ 6 w 190"/>
                  <a:gd name="T7" fmla="*/ 48 h 107"/>
                  <a:gd name="T8" fmla="*/ 26 w 190"/>
                  <a:gd name="T9" fmla="*/ 48 h 107"/>
                  <a:gd name="T10" fmla="*/ 30 w 190"/>
                  <a:gd name="T11" fmla="*/ 81 h 107"/>
                  <a:gd name="T12" fmla="*/ 113 w 190"/>
                  <a:gd name="T13" fmla="*/ 76 h 107"/>
                  <a:gd name="T14" fmla="*/ 150 w 190"/>
                  <a:gd name="T15" fmla="*/ 107 h 107"/>
                  <a:gd name="T16" fmla="*/ 190 w 190"/>
                  <a:gd name="T17" fmla="*/ 82 h 107"/>
                  <a:gd name="T18" fmla="*/ 186 w 190"/>
                  <a:gd name="T19" fmla="*/ 4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107">
                    <a:moveTo>
                      <a:pt x="186" y="46"/>
                    </a:moveTo>
                    <a:lnTo>
                      <a:pt x="122" y="0"/>
                    </a:lnTo>
                    <a:lnTo>
                      <a:pt x="0" y="17"/>
                    </a:lnTo>
                    <a:lnTo>
                      <a:pt x="6" y="48"/>
                    </a:lnTo>
                    <a:lnTo>
                      <a:pt x="26" y="48"/>
                    </a:lnTo>
                    <a:lnTo>
                      <a:pt x="30" y="81"/>
                    </a:lnTo>
                    <a:lnTo>
                      <a:pt x="113" y="76"/>
                    </a:lnTo>
                    <a:lnTo>
                      <a:pt x="150" y="107"/>
                    </a:lnTo>
                    <a:lnTo>
                      <a:pt x="190" y="82"/>
                    </a:lnTo>
                    <a:lnTo>
                      <a:pt x="186" y="4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0" name="Freeform 245">
                <a:extLst>
                  <a:ext uri="{FF2B5EF4-FFF2-40B4-BE49-F238E27FC236}">
                    <a16:creationId xmlns:a16="http://schemas.microsoft.com/office/drawing/2014/main" id="{C21B4ECF-153F-4A7F-A151-D00C72C84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5950" y="5200650"/>
                <a:ext cx="1203325" cy="952500"/>
              </a:xfrm>
              <a:custGeom>
                <a:avLst/>
                <a:gdLst>
                  <a:gd name="T0" fmla="*/ 3760 w 3792"/>
                  <a:gd name="T1" fmla="*/ 681 h 3004"/>
                  <a:gd name="T2" fmla="*/ 3752 w 3792"/>
                  <a:gd name="T3" fmla="*/ 585 h 3004"/>
                  <a:gd name="T4" fmla="*/ 3742 w 3792"/>
                  <a:gd name="T5" fmla="*/ 545 h 3004"/>
                  <a:gd name="T6" fmla="*/ 3704 w 3792"/>
                  <a:gd name="T7" fmla="*/ 498 h 3004"/>
                  <a:gd name="T8" fmla="*/ 3481 w 3792"/>
                  <a:gd name="T9" fmla="*/ 537 h 3004"/>
                  <a:gd name="T10" fmla="*/ 3318 w 3792"/>
                  <a:gd name="T11" fmla="*/ 512 h 3004"/>
                  <a:gd name="T12" fmla="*/ 3137 w 3792"/>
                  <a:gd name="T13" fmla="*/ 368 h 3004"/>
                  <a:gd name="T14" fmla="*/ 2941 w 3792"/>
                  <a:gd name="T15" fmla="*/ 409 h 3004"/>
                  <a:gd name="T16" fmla="*/ 2553 w 3792"/>
                  <a:gd name="T17" fmla="*/ 320 h 3004"/>
                  <a:gd name="T18" fmla="*/ 2369 w 3792"/>
                  <a:gd name="T19" fmla="*/ 205 h 3004"/>
                  <a:gd name="T20" fmla="*/ 2302 w 3792"/>
                  <a:gd name="T21" fmla="*/ 140 h 3004"/>
                  <a:gd name="T22" fmla="*/ 2281 w 3792"/>
                  <a:gd name="T23" fmla="*/ 146 h 3004"/>
                  <a:gd name="T24" fmla="*/ 2255 w 3792"/>
                  <a:gd name="T25" fmla="*/ 159 h 3004"/>
                  <a:gd name="T26" fmla="*/ 2223 w 3792"/>
                  <a:gd name="T27" fmla="*/ 155 h 3004"/>
                  <a:gd name="T28" fmla="*/ 2071 w 3792"/>
                  <a:gd name="T29" fmla="*/ 175 h 3004"/>
                  <a:gd name="T30" fmla="*/ 1901 w 3792"/>
                  <a:gd name="T31" fmla="*/ 143 h 3004"/>
                  <a:gd name="T32" fmla="*/ 1755 w 3792"/>
                  <a:gd name="T33" fmla="*/ 138 h 3004"/>
                  <a:gd name="T34" fmla="*/ 1655 w 3792"/>
                  <a:gd name="T35" fmla="*/ 126 h 3004"/>
                  <a:gd name="T36" fmla="*/ 1372 w 3792"/>
                  <a:gd name="T37" fmla="*/ 128 h 3004"/>
                  <a:gd name="T38" fmla="*/ 1077 w 3792"/>
                  <a:gd name="T39" fmla="*/ 61 h 3004"/>
                  <a:gd name="T40" fmla="*/ 987 w 3792"/>
                  <a:gd name="T41" fmla="*/ 78 h 3004"/>
                  <a:gd name="T42" fmla="*/ 527 w 3792"/>
                  <a:gd name="T43" fmla="*/ 3 h 3004"/>
                  <a:gd name="T44" fmla="*/ 454 w 3792"/>
                  <a:gd name="T45" fmla="*/ 7 h 3004"/>
                  <a:gd name="T46" fmla="*/ 301 w 3792"/>
                  <a:gd name="T47" fmla="*/ 95 h 3004"/>
                  <a:gd name="T48" fmla="*/ 322 w 3792"/>
                  <a:gd name="T49" fmla="*/ 140 h 3004"/>
                  <a:gd name="T50" fmla="*/ 295 w 3792"/>
                  <a:gd name="T51" fmla="*/ 148 h 3004"/>
                  <a:gd name="T52" fmla="*/ 136 w 3792"/>
                  <a:gd name="T53" fmla="*/ 173 h 3004"/>
                  <a:gd name="T54" fmla="*/ 56 w 3792"/>
                  <a:gd name="T55" fmla="*/ 233 h 3004"/>
                  <a:gd name="T56" fmla="*/ 23 w 3792"/>
                  <a:gd name="T57" fmla="*/ 342 h 3004"/>
                  <a:gd name="T58" fmla="*/ 94 w 3792"/>
                  <a:gd name="T59" fmla="*/ 396 h 3004"/>
                  <a:gd name="T60" fmla="*/ 118 w 3792"/>
                  <a:gd name="T61" fmla="*/ 521 h 3004"/>
                  <a:gd name="T62" fmla="*/ 149 w 3792"/>
                  <a:gd name="T63" fmla="*/ 604 h 3004"/>
                  <a:gd name="T64" fmla="*/ 227 w 3792"/>
                  <a:gd name="T65" fmla="*/ 703 h 3004"/>
                  <a:gd name="T66" fmla="*/ 370 w 3792"/>
                  <a:gd name="T67" fmla="*/ 711 h 3004"/>
                  <a:gd name="T68" fmla="*/ 467 w 3792"/>
                  <a:gd name="T69" fmla="*/ 746 h 3004"/>
                  <a:gd name="T70" fmla="*/ 677 w 3792"/>
                  <a:gd name="T71" fmla="*/ 729 h 3004"/>
                  <a:gd name="T72" fmla="*/ 928 w 3792"/>
                  <a:gd name="T73" fmla="*/ 856 h 3004"/>
                  <a:gd name="T74" fmla="*/ 740 w 3792"/>
                  <a:gd name="T75" fmla="*/ 1100 h 3004"/>
                  <a:gd name="T76" fmla="*/ 730 w 3792"/>
                  <a:gd name="T77" fmla="*/ 1412 h 3004"/>
                  <a:gd name="T78" fmla="*/ 627 w 3792"/>
                  <a:gd name="T79" fmla="*/ 1797 h 3004"/>
                  <a:gd name="T80" fmla="*/ 711 w 3792"/>
                  <a:gd name="T81" fmla="*/ 2195 h 3004"/>
                  <a:gd name="T82" fmla="*/ 569 w 3792"/>
                  <a:gd name="T83" fmla="*/ 2449 h 3004"/>
                  <a:gd name="T84" fmla="*/ 647 w 3792"/>
                  <a:gd name="T85" fmla="*/ 2570 h 3004"/>
                  <a:gd name="T86" fmla="*/ 787 w 3792"/>
                  <a:gd name="T87" fmla="*/ 2573 h 3004"/>
                  <a:gd name="T88" fmla="*/ 926 w 3792"/>
                  <a:gd name="T89" fmla="*/ 2794 h 3004"/>
                  <a:gd name="T90" fmla="*/ 1014 w 3792"/>
                  <a:gd name="T91" fmla="*/ 2942 h 3004"/>
                  <a:gd name="T92" fmla="*/ 1128 w 3792"/>
                  <a:gd name="T93" fmla="*/ 2981 h 3004"/>
                  <a:gd name="T94" fmla="*/ 1283 w 3792"/>
                  <a:gd name="T95" fmla="*/ 2823 h 3004"/>
                  <a:gd name="T96" fmla="*/ 1509 w 3792"/>
                  <a:gd name="T97" fmla="*/ 2735 h 3004"/>
                  <a:gd name="T98" fmla="*/ 1922 w 3792"/>
                  <a:gd name="T99" fmla="*/ 2735 h 3004"/>
                  <a:gd name="T100" fmla="*/ 2185 w 3792"/>
                  <a:gd name="T101" fmla="*/ 2733 h 3004"/>
                  <a:gd name="T102" fmla="*/ 2280 w 3792"/>
                  <a:gd name="T103" fmla="*/ 2583 h 3004"/>
                  <a:gd name="T104" fmla="*/ 2372 w 3792"/>
                  <a:gd name="T105" fmla="*/ 2419 h 3004"/>
                  <a:gd name="T106" fmla="*/ 2578 w 3792"/>
                  <a:gd name="T107" fmla="*/ 2417 h 3004"/>
                  <a:gd name="T108" fmla="*/ 2617 w 3792"/>
                  <a:gd name="T109" fmla="*/ 2251 h 3004"/>
                  <a:gd name="T110" fmla="*/ 2692 w 3792"/>
                  <a:gd name="T111" fmla="*/ 2088 h 3004"/>
                  <a:gd name="T112" fmla="*/ 2868 w 3792"/>
                  <a:gd name="T113" fmla="*/ 1970 h 3004"/>
                  <a:gd name="T114" fmla="*/ 2780 w 3792"/>
                  <a:gd name="T115" fmla="*/ 1901 h 3004"/>
                  <a:gd name="T116" fmla="*/ 2715 w 3792"/>
                  <a:gd name="T117" fmla="*/ 1722 h 3004"/>
                  <a:gd name="T118" fmla="*/ 3031 w 3792"/>
                  <a:gd name="T119" fmla="*/ 1211 h 3004"/>
                  <a:gd name="T120" fmla="*/ 3061 w 3792"/>
                  <a:gd name="T121" fmla="*/ 1204 h 3004"/>
                  <a:gd name="T122" fmla="*/ 3279 w 3792"/>
                  <a:gd name="T123" fmla="*/ 1027 h 3004"/>
                  <a:gd name="T124" fmla="*/ 3604 w 3792"/>
                  <a:gd name="T125" fmla="*/ 821 h 3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92" h="3004">
                    <a:moveTo>
                      <a:pt x="3727" y="761"/>
                    </a:moveTo>
                    <a:lnTo>
                      <a:pt x="3746" y="717"/>
                    </a:lnTo>
                    <a:lnTo>
                      <a:pt x="3760" y="681"/>
                    </a:lnTo>
                    <a:lnTo>
                      <a:pt x="3719" y="641"/>
                    </a:lnTo>
                    <a:lnTo>
                      <a:pt x="3728" y="602"/>
                    </a:lnTo>
                    <a:lnTo>
                      <a:pt x="3752" y="585"/>
                    </a:lnTo>
                    <a:lnTo>
                      <a:pt x="3775" y="590"/>
                    </a:lnTo>
                    <a:lnTo>
                      <a:pt x="3792" y="564"/>
                    </a:lnTo>
                    <a:lnTo>
                      <a:pt x="3742" y="545"/>
                    </a:lnTo>
                    <a:lnTo>
                      <a:pt x="3754" y="495"/>
                    </a:lnTo>
                    <a:lnTo>
                      <a:pt x="3722" y="476"/>
                    </a:lnTo>
                    <a:lnTo>
                      <a:pt x="3704" y="498"/>
                    </a:lnTo>
                    <a:lnTo>
                      <a:pt x="3621" y="502"/>
                    </a:lnTo>
                    <a:lnTo>
                      <a:pt x="3544" y="543"/>
                    </a:lnTo>
                    <a:lnTo>
                      <a:pt x="3481" y="537"/>
                    </a:lnTo>
                    <a:lnTo>
                      <a:pt x="3414" y="508"/>
                    </a:lnTo>
                    <a:lnTo>
                      <a:pt x="3344" y="501"/>
                    </a:lnTo>
                    <a:lnTo>
                      <a:pt x="3318" y="512"/>
                    </a:lnTo>
                    <a:lnTo>
                      <a:pt x="3258" y="499"/>
                    </a:lnTo>
                    <a:lnTo>
                      <a:pt x="3234" y="437"/>
                    </a:lnTo>
                    <a:lnTo>
                      <a:pt x="3137" y="368"/>
                    </a:lnTo>
                    <a:lnTo>
                      <a:pt x="3040" y="362"/>
                    </a:lnTo>
                    <a:lnTo>
                      <a:pt x="2997" y="412"/>
                    </a:lnTo>
                    <a:lnTo>
                      <a:pt x="2941" y="409"/>
                    </a:lnTo>
                    <a:lnTo>
                      <a:pt x="2824" y="403"/>
                    </a:lnTo>
                    <a:lnTo>
                      <a:pt x="2700" y="342"/>
                    </a:lnTo>
                    <a:lnTo>
                      <a:pt x="2553" y="320"/>
                    </a:lnTo>
                    <a:lnTo>
                      <a:pt x="2493" y="267"/>
                    </a:lnTo>
                    <a:lnTo>
                      <a:pt x="2369" y="242"/>
                    </a:lnTo>
                    <a:lnTo>
                      <a:pt x="2369" y="205"/>
                    </a:lnTo>
                    <a:lnTo>
                      <a:pt x="2334" y="163"/>
                    </a:lnTo>
                    <a:lnTo>
                      <a:pt x="2302" y="163"/>
                    </a:lnTo>
                    <a:lnTo>
                      <a:pt x="2302" y="140"/>
                    </a:lnTo>
                    <a:lnTo>
                      <a:pt x="2291" y="137"/>
                    </a:lnTo>
                    <a:lnTo>
                      <a:pt x="2290" y="147"/>
                    </a:lnTo>
                    <a:lnTo>
                      <a:pt x="2281" y="146"/>
                    </a:lnTo>
                    <a:lnTo>
                      <a:pt x="2278" y="137"/>
                    </a:lnTo>
                    <a:lnTo>
                      <a:pt x="2260" y="156"/>
                    </a:lnTo>
                    <a:lnTo>
                      <a:pt x="2255" y="159"/>
                    </a:lnTo>
                    <a:lnTo>
                      <a:pt x="2236" y="154"/>
                    </a:lnTo>
                    <a:lnTo>
                      <a:pt x="2241" y="145"/>
                    </a:lnTo>
                    <a:lnTo>
                      <a:pt x="2223" y="155"/>
                    </a:lnTo>
                    <a:lnTo>
                      <a:pt x="2187" y="188"/>
                    </a:lnTo>
                    <a:lnTo>
                      <a:pt x="2101" y="191"/>
                    </a:lnTo>
                    <a:lnTo>
                      <a:pt x="2071" y="175"/>
                    </a:lnTo>
                    <a:lnTo>
                      <a:pt x="2015" y="155"/>
                    </a:lnTo>
                    <a:lnTo>
                      <a:pt x="1964" y="139"/>
                    </a:lnTo>
                    <a:lnTo>
                      <a:pt x="1901" y="143"/>
                    </a:lnTo>
                    <a:lnTo>
                      <a:pt x="1842" y="154"/>
                    </a:lnTo>
                    <a:lnTo>
                      <a:pt x="1792" y="140"/>
                    </a:lnTo>
                    <a:lnTo>
                      <a:pt x="1755" y="138"/>
                    </a:lnTo>
                    <a:lnTo>
                      <a:pt x="1725" y="98"/>
                    </a:lnTo>
                    <a:lnTo>
                      <a:pt x="1705" y="95"/>
                    </a:lnTo>
                    <a:lnTo>
                      <a:pt x="1655" y="126"/>
                    </a:lnTo>
                    <a:lnTo>
                      <a:pt x="1611" y="116"/>
                    </a:lnTo>
                    <a:lnTo>
                      <a:pt x="1518" y="134"/>
                    </a:lnTo>
                    <a:lnTo>
                      <a:pt x="1372" y="128"/>
                    </a:lnTo>
                    <a:lnTo>
                      <a:pt x="1215" y="96"/>
                    </a:lnTo>
                    <a:lnTo>
                      <a:pt x="1128" y="84"/>
                    </a:lnTo>
                    <a:lnTo>
                      <a:pt x="1077" y="61"/>
                    </a:lnTo>
                    <a:lnTo>
                      <a:pt x="1067" y="51"/>
                    </a:lnTo>
                    <a:lnTo>
                      <a:pt x="1037" y="45"/>
                    </a:lnTo>
                    <a:lnTo>
                      <a:pt x="987" y="78"/>
                    </a:lnTo>
                    <a:lnTo>
                      <a:pt x="651" y="85"/>
                    </a:lnTo>
                    <a:lnTo>
                      <a:pt x="557" y="39"/>
                    </a:lnTo>
                    <a:lnTo>
                      <a:pt x="527" y="3"/>
                    </a:lnTo>
                    <a:lnTo>
                      <a:pt x="484" y="0"/>
                    </a:lnTo>
                    <a:lnTo>
                      <a:pt x="477" y="20"/>
                    </a:lnTo>
                    <a:lnTo>
                      <a:pt x="454" y="7"/>
                    </a:lnTo>
                    <a:lnTo>
                      <a:pt x="404" y="17"/>
                    </a:lnTo>
                    <a:lnTo>
                      <a:pt x="341" y="65"/>
                    </a:lnTo>
                    <a:lnTo>
                      <a:pt x="301" y="95"/>
                    </a:lnTo>
                    <a:lnTo>
                      <a:pt x="312" y="130"/>
                    </a:lnTo>
                    <a:lnTo>
                      <a:pt x="342" y="120"/>
                    </a:lnTo>
                    <a:lnTo>
                      <a:pt x="322" y="140"/>
                    </a:lnTo>
                    <a:lnTo>
                      <a:pt x="342" y="167"/>
                    </a:lnTo>
                    <a:lnTo>
                      <a:pt x="299" y="170"/>
                    </a:lnTo>
                    <a:lnTo>
                      <a:pt x="295" y="148"/>
                    </a:lnTo>
                    <a:lnTo>
                      <a:pt x="252" y="158"/>
                    </a:lnTo>
                    <a:lnTo>
                      <a:pt x="193" y="192"/>
                    </a:lnTo>
                    <a:lnTo>
                      <a:pt x="136" y="173"/>
                    </a:lnTo>
                    <a:lnTo>
                      <a:pt x="103" y="213"/>
                    </a:lnTo>
                    <a:lnTo>
                      <a:pt x="96" y="233"/>
                    </a:lnTo>
                    <a:lnTo>
                      <a:pt x="56" y="233"/>
                    </a:lnTo>
                    <a:lnTo>
                      <a:pt x="3" y="313"/>
                    </a:lnTo>
                    <a:lnTo>
                      <a:pt x="0" y="357"/>
                    </a:lnTo>
                    <a:lnTo>
                      <a:pt x="23" y="342"/>
                    </a:lnTo>
                    <a:lnTo>
                      <a:pt x="43" y="365"/>
                    </a:lnTo>
                    <a:lnTo>
                      <a:pt x="41" y="399"/>
                    </a:lnTo>
                    <a:lnTo>
                      <a:pt x="94" y="396"/>
                    </a:lnTo>
                    <a:lnTo>
                      <a:pt x="78" y="465"/>
                    </a:lnTo>
                    <a:lnTo>
                      <a:pt x="138" y="461"/>
                    </a:lnTo>
                    <a:lnTo>
                      <a:pt x="118" y="521"/>
                    </a:lnTo>
                    <a:lnTo>
                      <a:pt x="153" y="540"/>
                    </a:lnTo>
                    <a:lnTo>
                      <a:pt x="186" y="587"/>
                    </a:lnTo>
                    <a:lnTo>
                      <a:pt x="149" y="604"/>
                    </a:lnTo>
                    <a:lnTo>
                      <a:pt x="140" y="716"/>
                    </a:lnTo>
                    <a:lnTo>
                      <a:pt x="143" y="778"/>
                    </a:lnTo>
                    <a:lnTo>
                      <a:pt x="227" y="703"/>
                    </a:lnTo>
                    <a:lnTo>
                      <a:pt x="290" y="662"/>
                    </a:lnTo>
                    <a:lnTo>
                      <a:pt x="340" y="662"/>
                    </a:lnTo>
                    <a:lnTo>
                      <a:pt x="370" y="711"/>
                    </a:lnTo>
                    <a:lnTo>
                      <a:pt x="364" y="758"/>
                    </a:lnTo>
                    <a:lnTo>
                      <a:pt x="398" y="778"/>
                    </a:lnTo>
                    <a:lnTo>
                      <a:pt x="467" y="746"/>
                    </a:lnTo>
                    <a:lnTo>
                      <a:pt x="574" y="749"/>
                    </a:lnTo>
                    <a:lnTo>
                      <a:pt x="604" y="785"/>
                    </a:lnTo>
                    <a:lnTo>
                      <a:pt x="677" y="729"/>
                    </a:lnTo>
                    <a:lnTo>
                      <a:pt x="840" y="750"/>
                    </a:lnTo>
                    <a:lnTo>
                      <a:pt x="855" y="813"/>
                    </a:lnTo>
                    <a:lnTo>
                      <a:pt x="928" y="856"/>
                    </a:lnTo>
                    <a:lnTo>
                      <a:pt x="883" y="939"/>
                    </a:lnTo>
                    <a:lnTo>
                      <a:pt x="800" y="1009"/>
                    </a:lnTo>
                    <a:lnTo>
                      <a:pt x="740" y="1100"/>
                    </a:lnTo>
                    <a:lnTo>
                      <a:pt x="731" y="1179"/>
                    </a:lnTo>
                    <a:lnTo>
                      <a:pt x="766" y="1281"/>
                    </a:lnTo>
                    <a:lnTo>
                      <a:pt x="730" y="1412"/>
                    </a:lnTo>
                    <a:lnTo>
                      <a:pt x="748" y="1538"/>
                    </a:lnTo>
                    <a:lnTo>
                      <a:pt x="596" y="1681"/>
                    </a:lnTo>
                    <a:lnTo>
                      <a:pt x="627" y="1797"/>
                    </a:lnTo>
                    <a:lnTo>
                      <a:pt x="694" y="1900"/>
                    </a:lnTo>
                    <a:lnTo>
                      <a:pt x="646" y="2112"/>
                    </a:lnTo>
                    <a:lnTo>
                      <a:pt x="711" y="2195"/>
                    </a:lnTo>
                    <a:lnTo>
                      <a:pt x="704" y="2222"/>
                    </a:lnTo>
                    <a:lnTo>
                      <a:pt x="615" y="2325"/>
                    </a:lnTo>
                    <a:lnTo>
                      <a:pt x="569" y="2449"/>
                    </a:lnTo>
                    <a:lnTo>
                      <a:pt x="581" y="2565"/>
                    </a:lnTo>
                    <a:lnTo>
                      <a:pt x="637" y="2548"/>
                    </a:lnTo>
                    <a:lnTo>
                      <a:pt x="647" y="2570"/>
                    </a:lnTo>
                    <a:lnTo>
                      <a:pt x="670" y="2540"/>
                    </a:lnTo>
                    <a:lnTo>
                      <a:pt x="701" y="2567"/>
                    </a:lnTo>
                    <a:lnTo>
                      <a:pt x="787" y="2573"/>
                    </a:lnTo>
                    <a:lnTo>
                      <a:pt x="915" y="2691"/>
                    </a:lnTo>
                    <a:lnTo>
                      <a:pt x="899" y="2771"/>
                    </a:lnTo>
                    <a:lnTo>
                      <a:pt x="926" y="2794"/>
                    </a:lnTo>
                    <a:lnTo>
                      <a:pt x="919" y="2830"/>
                    </a:lnTo>
                    <a:lnTo>
                      <a:pt x="987" y="2939"/>
                    </a:lnTo>
                    <a:lnTo>
                      <a:pt x="1014" y="2942"/>
                    </a:lnTo>
                    <a:lnTo>
                      <a:pt x="1057" y="2955"/>
                    </a:lnTo>
                    <a:lnTo>
                      <a:pt x="1077" y="2971"/>
                    </a:lnTo>
                    <a:lnTo>
                      <a:pt x="1128" y="2981"/>
                    </a:lnTo>
                    <a:lnTo>
                      <a:pt x="1161" y="3004"/>
                    </a:lnTo>
                    <a:lnTo>
                      <a:pt x="1187" y="2947"/>
                    </a:lnTo>
                    <a:lnTo>
                      <a:pt x="1283" y="2823"/>
                    </a:lnTo>
                    <a:lnTo>
                      <a:pt x="1406" y="2820"/>
                    </a:lnTo>
                    <a:lnTo>
                      <a:pt x="1469" y="2779"/>
                    </a:lnTo>
                    <a:lnTo>
                      <a:pt x="1509" y="2735"/>
                    </a:lnTo>
                    <a:lnTo>
                      <a:pt x="1688" y="2744"/>
                    </a:lnTo>
                    <a:lnTo>
                      <a:pt x="1792" y="2760"/>
                    </a:lnTo>
                    <a:lnTo>
                      <a:pt x="1922" y="2735"/>
                    </a:lnTo>
                    <a:lnTo>
                      <a:pt x="1992" y="2768"/>
                    </a:lnTo>
                    <a:lnTo>
                      <a:pt x="2115" y="2706"/>
                    </a:lnTo>
                    <a:lnTo>
                      <a:pt x="2185" y="2733"/>
                    </a:lnTo>
                    <a:lnTo>
                      <a:pt x="2215" y="2713"/>
                    </a:lnTo>
                    <a:lnTo>
                      <a:pt x="2244" y="2633"/>
                    </a:lnTo>
                    <a:lnTo>
                      <a:pt x="2280" y="2583"/>
                    </a:lnTo>
                    <a:lnTo>
                      <a:pt x="2283" y="2499"/>
                    </a:lnTo>
                    <a:lnTo>
                      <a:pt x="2356" y="2476"/>
                    </a:lnTo>
                    <a:lnTo>
                      <a:pt x="2372" y="2419"/>
                    </a:lnTo>
                    <a:lnTo>
                      <a:pt x="2442" y="2425"/>
                    </a:lnTo>
                    <a:lnTo>
                      <a:pt x="2528" y="2404"/>
                    </a:lnTo>
                    <a:lnTo>
                      <a:pt x="2578" y="2417"/>
                    </a:lnTo>
                    <a:lnTo>
                      <a:pt x="2592" y="2394"/>
                    </a:lnTo>
                    <a:lnTo>
                      <a:pt x="2565" y="2351"/>
                    </a:lnTo>
                    <a:lnTo>
                      <a:pt x="2617" y="2251"/>
                    </a:lnTo>
                    <a:lnTo>
                      <a:pt x="2630" y="2190"/>
                    </a:lnTo>
                    <a:lnTo>
                      <a:pt x="2676" y="2130"/>
                    </a:lnTo>
                    <a:lnTo>
                      <a:pt x="2692" y="2088"/>
                    </a:lnTo>
                    <a:lnTo>
                      <a:pt x="2759" y="2067"/>
                    </a:lnTo>
                    <a:lnTo>
                      <a:pt x="2821" y="1990"/>
                    </a:lnTo>
                    <a:lnTo>
                      <a:pt x="2868" y="1970"/>
                    </a:lnTo>
                    <a:lnTo>
                      <a:pt x="2845" y="1943"/>
                    </a:lnTo>
                    <a:lnTo>
                      <a:pt x="2827" y="1907"/>
                    </a:lnTo>
                    <a:lnTo>
                      <a:pt x="2780" y="1901"/>
                    </a:lnTo>
                    <a:lnTo>
                      <a:pt x="2720" y="1768"/>
                    </a:lnTo>
                    <a:lnTo>
                      <a:pt x="2682" y="1743"/>
                    </a:lnTo>
                    <a:lnTo>
                      <a:pt x="2715" y="1722"/>
                    </a:lnTo>
                    <a:lnTo>
                      <a:pt x="2714" y="1626"/>
                    </a:lnTo>
                    <a:lnTo>
                      <a:pt x="2975" y="1256"/>
                    </a:lnTo>
                    <a:lnTo>
                      <a:pt x="3031" y="1211"/>
                    </a:lnTo>
                    <a:lnTo>
                      <a:pt x="3024" y="1231"/>
                    </a:lnTo>
                    <a:lnTo>
                      <a:pt x="3037" y="1248"/>
                    </a:lnTo>
                    <a:lnTo>
                      <a:pt x="3061" y="1204"/>
                    </a:lnTo>
                    <a:lnTo>
                      <a:pt x="3011" y="1165"/>
                    </a:lnTo>
                    <a:lnTo>
                      <a:pt x="3066" y="1095"/>
                    </a:lnTo>
                    <a:lnTo>
                      <a:pt x="3279" y="1027"/>
                    </a:lnTo>
                    <a:lnTo>
                      <a:pt x="3422" y="979"/>
                    </a:lnTo>
                    <a:lnTo>
                      <a:pt x="3511" y="866"/>
                    </a:lnTo>
                    <a:lnTo>
                      <a:pt x="3604" y="821"/>
                    </a:lnTo>
                    <a:lnTo>
                      <a:pt x="3727" y="76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44" name="Freeform 246">
              <a:extLst>
                <a:ext uri="{FF2B5EF4-FFF2-40B4-BE49-F238E27FC236}">
                  <a16:creationId xmlns:a16="http://schemas.microsoft.com/office/drawing/2014/main" id="{2B7BBAF0-24F8-4B08-BFB4-69567794C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063" y="5332413"/>
              <a:ext cx="34925" cy="30163"/>
            </a:xfrm>
            <a:custGeom>
              <a:avLst/>
              <a:gdLst>
                <a:gd name="T0" fmla="*/ 110 w 110"/>
                <a:gd name="T1" fmla="*/ 82 h 93"/>
                <a:gd name="T2" fmla="*/ 84 w 110"/>
                <a:gd name="T3" fmla="*/ 93 h 93"/>
                <a:gd name="T4" fmla="*/ 24 w 110"/>
                <a:gd name="T5" fmla="*/ 80 h 93"/>
                <a:gd name="T6" fmla="*/ 0 w 110"/>
                <a:gd name="T7" fmla="*/ 18 h 93"/>
                <a:gd name="T8" fmla="*/ 63 w 110"/>
                <a:gd name="T9" fmla="*/ 0 h 93"/>
                <a:gd name="T10" fmla="*/ 110 w 110"/>
                <a:gd name="T11" fmla="*/ 37 h 93"/>
                <a:gd name="T12" fmla="*/ 110 w 110"/>
                <a:gd name="T13" fmla="*/ 8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93">
                  <a:moveTo>
                    <a:pt x="110" y="82"/>
                  </a:moveTo>
                  <a:lnTo>
                    <a:pt x="84" y="93"/>
                  </a:lnTo>
                  <a:lnTo>
                    <a:pt x="24" y="80"/>
                  </a:lnTo>
                  <a:lnTo>
                    <a:pt x="0" y="18"/>
                  </a:lnTo>
                  <a:lnTo>
                    <a:pt x="63" y="0"/>
                  </a:lnTo>
                  <a:lnTo>
                    <a:pt x="110" y="37"/>
                  </a:lnTo>
                  <a:lnTo>
                    <a:pt x="110" y="82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5" name="Freeform 249">
              <a:extLst>
                <a:ext uri="{FF2B5EF4-FFF2-40B4-BE49-F238E27FC236}">
                  <a16:creationId xmlns:a16="http://schemas.microsoft.com/office/drawing/2014/main" id="{8DA39DF2-D337-4D0B-B490-A7CFCC103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125" y="5376863"/>
              <a:ext cx="14288" cy="12700"/>
            </a:xfrm>
            <a:custGeom>
              <a:avLst/>
              <a:gdLst>
                <a:gd name="T0" fmla="*/ 36 w 46"/>
                <a:gd name="T1" fmla="*/ 38 h 42"/>
                <a:gd name="T2" fmla="*/ 15 w 46"/>
                <a:gd name="T3" fmla="*/ 42 h 42"/>
                <a:gd name="T4" fmla="*/ 0 w 46"/>
                <a:gd name="T5" fmla="*/ 23 h 42"/>
                <a:gd name="T6" fmla="*/ 5 w 46"/>
                <a:gd name="T7" fmla="*/ 2 h 42"/>
                <a:gd name="T8" fmla="*/ 36 w 46"/>
                <a:gd name="T9" fmla="*/ 0 h 42"/>
                <a:gd name="T10" fmla="*/ 46 w 46"/>
                <a:gd name="T11" fmla="*/ 13 h 42"/>
                <a:gd name="T12" fmla="*/ 36 w 46"/>
                <a:gd name="T13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2">
                  <a:moveTo>
                    <a:pt x="36" y="38"/>
                  </a:moveTo>
                  <a:lnTo>
                    <a:pt x="15" y="42"/>
                  </a:lnTo>
                  <a:lnTo>
                    <a:pt x="0" y="23"/>
                  </a:lnTo>
                  <a:lnTo>
                    <a:pt x="5" y="2"/>
                  </a:lnTo>
                  <a:lnTo>
                    <a:pt x="36" y="0"/>
                  </a:lnTo>
                  <a:lnTo>
                    <a:pt x="46" y="13"/>
                  </a:lnTo>
                  <a:lnTo>
                    <a:pt x="36" y="38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6" name="Freeform 250">
              <a:extLst>
                <a:ext uri="{FF2B5EF4-FFF2-40B4-BE49-F238E27FC236}">
                  <a16:creationId xmlns:a16="http://schemas.microsoft.com/office/drawing/2014/main" id="{B5427E5A-6825-4C26-AA52-679489502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38" y="5165725"/>
              <a:ext cx="12700" cy="15875"/>
            </a:xfrm>
            <a:custGeom>
              <a:avLst/>
              <a:gdLst>
                <a:gd name="T0" fmla="*/ 32 w 39"/>
                <a:gd name="T1" fmla="*/ 40 h 48"/>
                <a:gd name="T2" fmla="*/ 14 w 39"/>
                <a:gd name="T3" fmla="*/ 48 h 48"/>
                <a:gd name="T4" fmla="*/ 0 w 39"/>
                <a:gd name="T5" fmla="*/ 39 h 48"/>
                <a:gd name="T6" fmla="*/ 3 w 39"/>
                <a:gd name="T7" fmla="*/ 18 h 48"/>
                <a:gd name="T8" fmla="*/ 27 w 39"/>
                <a:gd name="T9" fmla="*/ 0 h 48"/>
                <a:gd name="T10" fmla="*/ 39 w 39"/>
                <a:gd name="T11" fmla="*/ 7 h 48"/>
                <a:gd name="T12" fmla="*/ 32 w 39"/>
                <a:gd name="T1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48">
                  <a:moveTo>
                    <a:pt x="32" y="40"/>
                  </a:moveTo>
                  <a:lnTo>
                    <a:pt x="14" y="48"/>
                  </a:lnTo>
                  <a:lnTo>
                    <a:pt x="0" y="39"/>
                  </a:lnTo>
                  <a:lnTo>
                    <a:pt x="3" y="18"/>
                  </a:lnTo>
                  <a:lnTo>
                    <a:pt x="27" y="0"/>
                  </a:lnTo>
                  <a:lnTo>
                    <a:pt x="39" y="7"/>
                  </a:lnTo>
                  <a:lnTo>
                    <a:pt x="32" y="40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7" name="Freeform 251">
              <a:extLst>
                <a:ext uri="{FF2B5EF4-FFF2-40B4-BE49-F238E27FC236}">
                  <a16:creationId xmlns:a16="http://schemas.microsoft.com/office/drawing/2014/main" id="{1B4ED16B-0EC8-4338-A6B7-2699B06A3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850" y="5184775"/>
              <a:ext cx="17463" cy="9525"/>
            </a:xfrm>
            <a:custGeom>
              <a:avLst/>
              <a:gdLst>
                <a:gd name="T0" fmla="*/ 11 w 55"/>
                <a:gd name="T1" fmla="*/ 10 h 33"/>
                <a:gd name="T2" fmla="*/ 0 w 55"/>
                <a:gd name="T3" fmla="*/ 33 h 33"/>
                <a:gd name="T4" fmla="*/ 55 w 55"/>
                <a:gd name="T5" fmla="*/ 18 h 33"/>
                <a:gd name="T6" fmla="*/ 41 w 55"/>
                <a:gd name="T7" fmla="*/ 0 h 33"/>
                <a:gd name="T8" fmla="*/ 11 w 55"/>
                <a:gd name="T9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3">
                  <a:moveTo>
                    <a:pt x="11" y="10"/>
                  </a:moveTo>
                  <a:lnTo>
                    <a:pt x="0" y="33"/>
                  </a:lnTo>
                  <a:lnTo>
                    <a:pt x="55" y="18"/>
                  </a:lnTo>
                  <a:lnTo>
                    <a:pt x="41" y="0"/>
                  </a:lnTo>
                  <a:lnTo>
                    <a:pt x="11" y="10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629AF5D-E768-413B-BAE4-09EEF8D389D5}"/>
                </a:ext>
              </a:extLst>
            </p:cNvPr>
            <p:cNvGrpSpPr/>
            <p:nvPr/>
          </p:nvGrpSpPr>
          <p:grpSpPr>
            <a:xfrm>
              <a:off x="3432175" y="4740275"/>
              <a:ext cx="1114425" cy="1341438"/>
              <a:chOff x="3432175" y="4740275"/>
              <a:chExt cx="1114425" cy="1341438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140" name="Freeform 247">
                <a:extLst>
                  <a:ext uri="{FF2B5EF4-FFF2-40B4-BE49-F238E27FC236}">
                    <a16:creationId xmlns:a16="http://schemas.microsoft.com/office/drawing/2014/main" id="{9B37377F-8932-4A30-8DD2-09147481D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4888" y="5532438"/>
                <a:ext cx="160338" cy="285750"/>
              </a:xfrm>
              <a:custGeom>
                <a:avLst/>
                <a:gdLst>
                  <a:gd name="T0" fmla="*/ 459 w 507"/>
                  <a:gd name="T1" fmla="*/ 105 h 900"/>
                  <a:gd name="T2" fmla="*/ 432 w 507"/>
                  <a:gd name="T3" fmla="*/ 26 h 900"/>
                  <a:gd name="T4" fmla="*/ 395 w 507"/>
                  <a:gd name="T5" fmla="*/ 26 h 900"/>
                  <a:gd name="T6" fmla="*/ 335 w 507"/>
                  <a:gd name="T7" fmla="*/ 0 h 900"/>
                  <a:gd name="T8" fmla="*/ 318 w 507"/>
                  <a:gd name="T9" fmla="*/ 0 h 900"/>
                  <a:gd name="T10" fmla="*/ 305 w 507"/>
                  <a:gd name="T11" fmla="*/ 34 h 900"/>
                  <a:gd name="T12" fmla="*/ 263 w 507"/>
                  <a:gd name="T13" fmla="*/ 64 h 900"/>
                  <a:gd name="T14" fmla="*/ 196 w 507"/>
                  <a:gd name="T15" fmla="*/ 104 h 900"/>
                  <a:gd name="T16" fmla="*/ 173 w 507"/>
                  <a:gd name="T17" fmla="*/ 154 h 900"/>
                  <a:gd name="T18" fmla="*/ 110 w 507"/>
                  <a:gd name="T19" fmla="*/ 148 h 900"/>
                  <a:gd name="T20" fmla="*/ 56 w 507"/>
                  <a:gd name="T21" fmla="*/ 122 h 900"/>
                  <a:gd name="T22" fmla="*/ 32 w 507"/>
                  <a:gd name="T23" fmla="*/ 86 h 900"/>
                  <a:gd name="T24" fmla="*/ 62 w 507"/>
                  <a:gd name="T25" fmla="*/ 39 h 900"/>
                  <a:gd name="T26" fmla="*/ 42 w 507"/>
                  <a:gd name="T27" fmla="*/ 22 h 900"/>
                  <a:gd name="T28" fmla="*/ 29 w 507"/>
                  <a:gd name="T29" fmla="*/ 69 h 900"/>
                  <a:gd name="T30" fmla="*/ 2 w 507"/>
                  <a:gd name="T31" fmla="*/ 86 h 900"/>
                  <a:gd name="T32" fmla="*/ 20 w 507"/>
                  <a:gd name="T33" fmla="*/ 162 h 900"/>
                  <a:gd name="T34" fmla="*/ 0 w 507"/>
                  <a:gd name="T35" fmla="*/ 205 h 900"/>
                  <a:gd name="T36" fmla="*/ 14 w 507"/>
                  <a:gd name="T37" fmla="*/ 272 h 900"/>
                  <a:gd name="T38" fmla="*/ 28 w 507"/>
                  <a:gd name="T39" fmla="*/ 242 h 900"/>
                  <a:gd name="T40" fmla="*/ 78 w 507"/>
                  <a:gd name="T41" fmla="*/ 274 h 900"/>
                  <a:gd name="T42" fmla="*/ 108 w 507"/>
                  <a:gd name="T43" fmla="*/ 331 h 900"/>
                  <a:gd name="T44" fmla="*/ 89 w 507"/>
                  <a:gd name="T45" fmla="*/ 373 h 900"/>
                  <a:gd name="T46" fmla="*/ 109 w 507"/>
                  <a:gd name="T47" fmla="*/ 403 h 900"/>
                  <a:gd name="T48" fmla="*/ 82 w 507"/>
                  <a:gd name="T49" fmla="*/ 470 h 900"/>
                  <a:gd name="T50" fmla="*/ 127 w 507"/>
                  <a:gd name="T51" fmla="*/ 506 h 900"/>
                  <a:gd name="T52" fmla="*/ 113 w 507"/>
                  <a:gd name="T53" fmla="*/ 549 h 900"/>
                  <a:gd name="T54" fmla="*/ 61 w 507"/>
                  <a:gd name="T55" fmla="*/ 703 h 900"/>
                  <a:gd name="T56" fmla="*/ 102 w 507"/>
                  <a:gd name="T57" fmla="*/ 756 h 900"/>
                  <a:gd name="T58" fmla="*/ 105 w 507"/>
                  <a:gd name="T59" fmla="*/ 835 h 900"/>
                  <a:gd name="T60" fmla="*/ 126 w 507"/>
                  <a:gd name="T61" fmla="*/ 851 h 900"/>
                  <a:gd name="T62" fmla="*/ 99 w 507"/>
                  <a:gd name="T63" fmla="*/ 851 h 900"/>
                  <a:gd name="T64" fmla="*/ 110 w 507"/>
                  <a:gd name="T65" fmla="*/ 885 h 900"/>
                  <a:gd name="T66" fmla="*/ 137 w 507"/>
                  <a:gd name="T67" fmla="*/ 875 h 900"/>
                  <a:gd name="T68" fmla="*/ 173 w 507"/>
                  <a:gd name="T69" fmla="*/ 900 h 900"/>
                  <a:gd name="T70" fmla="*/ 219 w 507"/>
                  <a:gd name="T71" fmla="*/ 890 h 900"/>
                  <a:gd name="T72" fmla="*/ 259 w 507"/>
                  <a:gd name="T73" fmla="*/ 887 h 900"/>
                  <a:gd name="T74" fmla="*/ 286 w 507"/>
                  <a:gd name="T75" fmla="*/ 860 h 900"/>
                  <a:gd name="T76" fmla="*/ 289 w 507"/>
                  <a:gd name="T77" fmla="*/ 797 h 900"/>
                  <a:gd name="T78" fmla="*/ 345 w 507"/>
                  <a:gd name="T79" fmla="*/ 760 h 900"/>
                  <a:gd name="T80" fmla="*/ 378 w 507"/>
                  <a:gd name="T81" fmla="*/ 792 h 900"/>
                  <a:gd name="T82" fmla="*/ 409 w 507"/>
                  <a:gd name="T83" fmla="*/ 826 h 900"/>
                  <a:gd name="T84" fmla="*/ 452 w 507"/>
                  <a:gd name="T85" fmla="*/ 759 h 900"/>
                  <a:gd name="T86" fmla="*/ 451 w 507"/>
                  <a:gd name="T87" fmla="*/ 650 h 900"/>
                  <a:gd name="T88" fmla="*/ 477 w 507"/>
                  <a:gd name="T89" fmla="*/ 539 h 900"/>
                  <a:gd name="T90" fmla="*/ 502 w 507"/>
                  <a:gd name="T91" fmla="*/ 444 h 900"/>
                  <a:gd name="T92" fmla="*/ 459 w 507"/>
                  <a:gd name="T93" fmla="*/ 407 h 900"/>
                  <a:gd name="T94" fmla="*/ 471 w 507"/>
                  <a:gd name="T95" fmla="*/ 360 h 900"/>
                  <a:gd name="T96" fmla="*/ 504 w 507"/>
                  <a:gd name="T97" fmla="*/ 330 h 900"/>
                  <a:gd name="T98" fmla="*/ 507 w 507"/>
                  <a:gd name="T99" fmla="*/ 241 h 900"/>
                  <a:gd name="T100" fmla="*/ 456 w 507"/>
                  <a:gd name="T101" fmla="*/ 158 h 900"/>
                  <a:gd name="T102" fmla="*/ 459 w 507"/>
                  <a:gd name="T103" fmla="*/ 105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7" h="900">
                    <a:moveTo>
                      <a:pt x="459" y="105"/>
                    </a:moveTo>
                    <a:lnTo>
                      <a:pt x="432" y="26"/>
                    </a:lnTo>
                    <a:lnTo>
                      <a:pt x="395" y="26"/>
                    </a:lnTo>
                    <a:lnTo>
                      <a:pt x="335" y="0"/>
                    </a:lnTo>
                    <a:lnTo>
                      <a:pt x="318" y="0"/>
                    </a:lnTo>
                    <a:lnTo>
                      <a:pt x="305" y="34"/>
                    </a:lnTo>
                    <a:lnTo>
                      <a:pt x="263" y="64"/>
                    </a:lnTo>
                    <a:lnTo>
                      <a:pt x="196" y="104"/>
                    </a:lnTo>
                    <a:lnTo>
                      <a:pt x="173" y="154"/>
                    </a:lnTo>
                    <a:lnTo>
                      <a:pt x="110" y="148"/>
                    </a:lnTo>
                    <a:lnTo>
                      <a:pt x="56" y="122"/>
                    </a:lnTo>
                    <a:lnTo>
                      <a:pt x="32" y="86"/>
                    </a:lnTo>
                    <a:lnTo>
                      <a:pt x="62" y="39"/>
                    </a:lnTo>
                    <a:lnTo>
                      <a:pt x="42" y="22"/>
                    </a:lnTo>
                    <a:lnTo>
                      <a:pt x="29" y="69"/>
                    </a:lnTo>
                    <a:lnTo>
                      <a:pt x="2" y="86"/>
                    </a:lnTo>
                    <a:lnTo>
                      <a:pt x="20" y="162"/>
                    </a:lnTo>
                    <a:lnTo>
                      <a:pt x="0" y="205"/>
                    </a:lnTo>
                    <a:lnTo>
                      <a:pt x="14" y="272"/>
                    </a:lnTo>
                    <a:lnTo>
                      <a:pt x="28" y="242"/>
                    </a:lnTo>
                    <a:lnTo>
                      <a:pt x="78" y="274"/>
                    </a:lnTo>
                    <a:lnTo>
                      <a:pt x="108" y="331"/>
                    </a:lnTo>
                    <a:lnTo>
                      <a:pt x="89" y="373"/>
                    </a:lnTo>
                    <a:lnTo>
                      <a:pt x="109" y="403"/>
                    </a:lnTo>
                    <a:lnTo>
                      <a:pt x="82" y="470"/>
                    </a:lnTo>
                    <a:lnTo>
                      <a:pt x="127" y="506"/>
                    </a:lnTo>
                    <a:lnTo>
                      <a:pt x="113" y="549"/>
                    </a:lnTo>
                    <a:lnTo>
                      <a:pt x="61" y="703"/>
                    </a:lnTo>
                    <a:lnTo>
                      <a:pt x="102" y="756"/>
                    </a:lnTo>
                    <a:lnTo>
                      <a:pt x="105" y="835"/>
                    </a:lnTo>
                    <a:lnTo>
                      <a:pt x="126" y="851"/>
                    </a:lnTo>
                    <a:lnTo>
                      <a:pt x="99" y="851"/>
                    </a:lnTo>
                    <a:lnTo>
                      <a:pt x="110" y="885"/>
                    </a:lnTo>
                    <a:lnTo>
                      <a:pt x="137" y="875"/>
                    </a:lnTo>
                    <a:lnTo>
                      <a:pt x="173" y="900"/>
                    </a:lnTo>
                    <a:lnTo>
                      <a:pt x="219" y="890"/>
                    </a:lnTo>
                    <a:lnTo>
                      <a:pt x="259" y="887"/>
                    </a:lnTo>
                    <a:lnTo>
                      <a:pt x="286" y="860"/>
                    </a:lnTo>
                    <a:lnTo>
                      <a:pt x="289" y="797"/>
                    </a:lnTo>
                    <a:lnTo>
                      <a:pt x="345" y="760"/>
                    </a:lnTo>
                    <a:lnTo>
                      <a:pt x="378" y="792"/>
                    </a:lnTo>
                    <a:lnTo>
                      <a:pt x="409" y="826"/>
                    </a:lnTo>
                    <a:lnTo>
                      <a:pt x="452" y="759"/>
                    </a:lnTo>
                    <a:lnTo>
                      <a:pt x="451" y="650"/>
                    </a:lnTo>
                    <a:lnTo>
                      <a:pt x="477" y="539"/>
                    </a:lnTo>
                    <a:lnTo>
                      <a:pt x="502" y="444"/>
                    </a:lnTo>
                    <a:lnTo>
                      <a:pt x="459" y="407"/>
                    </a:lnTo>
                    <a:lnTo>
                      <a:pt x="471" y="360"/>
                    </a:lnTo>
                    <a:lnTo>
                      <a:pt x="504" y="330"/>
                    </a:lnTo>
                    <a:lnTo>
                      <a:pt x="507" y="241"/>
                    </a:lnTo>
                    <a:lnTo>
                      <a:pt x="456" y="158"/>
                    </a:lnTo>
                    <a:lnTo>
                      <a:pt x="459" y="10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1" name="Freeform 248">
                <a:extLst>
                  <a:ext uri="{FF2B5EF4-FFF2-40B4-BE49-F238E27FC236}">
                    <a16:creationId xmlns:a16="http://schemas.microsoft.com/office/drawing/2014/main" id="{86DB1011-A4CE-4568-86AA-253F4CABA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175" y="4740275"/>
                <a:ext cx="1114425" cy="1195388"/>
              </a:xfrm>
              <a:custGeom>
                <a:avLst/>
                <a:gdLst>
                  <a:gd name="T0" fmla="*/ 3242 w 3513"/>
                  <a:gd name="T1" fmla="*/ 2628 h 3761"/>
                  <a:gd name="T2" fmla="*/ 2756 w 3513"/>
                  <a:gd name="T3" fmla="*/ 2371 h 3761"/>
                  <a:gd name="T4" fmla="*/ 2788 w 3513"/>
                  <a:gd name="T5" fmla="*/ 2188 h 3761"/>
                  <a:gd name="T6" fmla="*/ 2658 w 3513"/>
                  <a:gd name="T7" fmla="*/ 2166 h 3761"/>
                  <a:gd name="T8" fmla="*/ 2457 w 3513"/>
                  <a:gd name="T9" fmla="*/ 2121 h 3761"/>
                  <a:gd name="T10" fmla="*/ 2045 w 3513"/>
                  <a:gd name="T11" fmla="*/ 1507 h 3761"/>
                  <a:gd name="T12" fmla="*/ 1641 w 3513"/>
                  <a:gd name="T13" fmla="*/ 1086 h 3761"/>
                  <a:gd name="T14" fmla="*/ 1626 w 3513"/>
                  <a:gd name="T15" fmla="*/ 821 h 3761"/>
                  <a:gd name="T16" fmla="*/ 1784 w 3513"/>
                  <a:gd name="T17" fmla="*/ 663 h 3761"/>
                  <a:gd name="T18" fmla="*/ 2044 w 3513"/>
                  <a:gd name="T19" fmla="*/ 615 h 3761"/>
                  <a:gd name="T20" fmla="*/ 1988 w 3513"/>
                  <a:gd name="T21" fmla="*/ 510 h 3761"/>
                  <a:gd name="T22" fmla="*/ 2026 w 3513"/>
                  <a:gd name="T23" fmla="*/ 239 h 3761"/>
                  <a:gd name="T24" fmla="*/ 1566 w 3513"/>
                  <a:gd name="T25" fmla="*/ 0 h 3761"/>
                  <a:gd name="T26" fmla="*/ 1072 w 3513"/>
                  <a:gd name="T27" fmla="*/ 89 h 3761"/>
                  <a:gd name="T28" fmla="*/ 975 w 3513"/>
                  <a:gd name="T29" fmla="*/ 369 h 3761"/>
                  <a:gd name="T30" fmla="*/ 778 w 3513"/>
                  <a:gd name="T31" fmla="*/ 347 h 3761"/>
                  <a:gd name="T32" fmla="*/ 636 w 3513"/>
                  <a:gd name="T33" fmla="*/ 501 h 3761"/>
                  <a:gd name="T34" fmla="*/ 613 w 3513"/>
                  <a:gd name="T35" fmla="*/ 491 h 3761"/>
                  <a:gd name="T36" fmla="*/ 603 w 3513"/>
                  <a:gd name="T37" fmla="*/ 478 h 3761"/>
                  <a:gd name="T38" fmla="*/ 595 w 3513"/>
                  <a:gd name="T39" fmla="*/ 417 h 3761"/>
                  <a:gd name="T40" fmla="*/ 504 w 3513"/>
                  <a:gd name="T41" fmla="*/ 525 h 3761"/>
                  <a:gd name="T42" fmla="*/ 537 w 3513"/>
                  <a:gd name="T43" fmla="*/ 434 h 3761"/>
                  <a:gd name="T44" fmla="*/ 451 w 3513"/>
                  <a:gd name="T45" fmla="*/ 314 h 3761"/>
                  <a:gd name="T46" fmla="*/ 192 w 3513"/>
                  <a:gd name="T47" fmla="*/ 442 h 3761"/>
                  <a:gd name="T48" fmla="*/ 108 w 3513"/>
                  <a:gd name="T49" fmla="*/ 749 h 3761"/>
                  <a:gd name="T50" fmla="*/ 80 w 3513"/>
                  <a:gd name="T51" fmla="*/ 1014 h 3761"/>
                  <a:gd name="T52" fmla="*/ 230 w 3513"/>
                  <a:gd name="T53" fmla="*/ 1239 h 3761"/>
                  <a:gd name="T54" fmla="*/ 264 w 3513"/>
                  <a:gd name="T55" fmla="*/ 1367 h 3761"/>
                  <a:gd name="T56" fmla="*/ 463 w 3513"/>
                  <a:gd name="T57" fmla="*/ 1233 h 3761"/>
                  <a:gd name="T58" fmla="*/ 729 w 3513"/>
                  <a:gd name="T59" fmla="*/ 1204 h 3761"/>
                  <a:gd name="T60" fmla="*/ 1021 w 3513"/>
                  <a:gd name="T61" fmla="*/ 1430 h 3761"/>
                  <a:gd name="T62" fmla="*/ 1088 w 3513"/>
                  <a:gd name="T63" fmla="*/ 1805 h 3761"/>
                  <a:gd name="T64" fmla="*/ 1179 w 3513"/>
                  <a:gd name="T65" fmla="*/ 1894 h 3761"/>
                  <a:gd name="T66" fmla="*/ 1266 w 3513"/>
                  <a:gd name="T67" fmla="*/ 2025 h 3761"/>
                  <a:gd name="T68" fmla="*/ 1494 w 3513"/>
                  <a:gd name="T69" fmla="*/ 2152 h 3761"/>
                  <a:gd name="T70" fmla="*/ 1907 w 3513"/>
                  <a:gd name="T71" fmla="*/ 2454 h 3761"/>
                  <a:gd name="T72" fmla="*/ 2225 w 3513"/>
                  <a:gd name="T73" fmla="*/ 2637 h 3761"/>
                  <a:gd name="T74" fmla="*/ 2366 w 3513"/>
                  <a:gd name="T75" fmla="*/ 2693 h 3761"/>
                  <a:gd name="T76" fmla="*/ 2531 w 3513"/>
                  <a:gd name="T77" fmla="*/ 2937 h 3761"/>
                  <a:gd name="T78" fmla="*/ 2770 w 3513"/>
                  <a:gd name="T79" fmla="*/ 3246 h 3761"/>
                  <a:gd name="T80" fmla="*/ 2759 w 3513"/>
                  <a:gd name="T81" fmla="*/ 3426 h 3761"/>
                  <a:gd name="T82" fmla="*/ 2700 w 3513"/>
                  <a:gd name="T83" fmla="*/ 3573 h 3761"/>
                  <a:gd name="T84" fmla="*/ 2712 w 3513"/>
                  <a:gd name="T85" fmla="*/ 3761 h 3761"/>
                  <a:gd name="T86" fmla="*/ 2815 w 3513"/>
                  <a:gd name="T87" fmla="*/ 3664 h 3761"/>
                  <a:gd name="T88" fmla="*/ 3038 w 3513"/>
                  <a:gd name="T89" fmla="*/ 3304 h 3761"/>
                  <a:gd name="T90" fmla="*/ 3059 w 3513"/>
                  <a:gd name="T91" fmla="*/ 3095 h 3761"/>
                  <a:gd name="T92" fmla="*/ 2943 w 3513"/>
                  <a:gd name="T93" fmla="*/ 2820 h 3761"/>
                  <a:gd name="T94" fmla="*/ 3152 w 3513"/>
                  <a:gd name="T95" fmla="*/ 2745 h 3761"/>
                  <a:gd name="T96" fmla="*/ 3471 w 3513"/>
                  <a:gd name="T97" fmla="*/ 2961 h 3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513" h="3761">
                    <a:moveTo>
                      <a:pt x="3470" y="2782"/>
                    </a:moveTo>
                    <a:lnTo>
                      <a:pt x="3392" y="2716"/>
                    </a:lnTo>
                    <a:lnTo>
                      <a:pt x="3349" y="2667"/>
                    </a:lnTo>
                    <a:lnTo>
                      <a:pt x="3242" y="2628"/>
                    </a:lnTo>
                    <a:lnTo>
                      <a:pt x="3133" y="2517"/>
                    </a:lnTo>
                    <a:lnTo>
                      <a:pt x="2973" y="2448"/>
                    </a:lnTo>
                    <a:lnTo>
                      <a:pt x="2816" y="2386"/>
                    </a:lnTo>
                    <a:lnTo>
                      <a:pt x="2756" y="2371"/>
                    </a:lnTo>
                    <a:lnTo>
                      <a:pt x="2722" y="2301"/>
                    </a:lnTo>
                    <a:lnTo>
                      <a:pt x="2728" y="2265"/>
                    </a:lnTo>
                    <a:lnTo>
                      <a:pt x="2761" y="2221"/>
                    </a:lnTo>
                    <a:lnTo>
                      <a:pt x="2788" y="2188"/>
                    </a:lnTo>
                    <a:lnTo>
                      <a:pt x="2747" y="2118"/>
                    </a:lnTo>
                    <a:lnTo>
                      <a:pt x="2710" y="2119"/>
                    </a:lnTo>
                    <a:lnTo>
                      <a:pt x="2673" y="2132"/>
                    </a:lnTo>
                    <a:lnTo>
                      <a:pt x="2658" y="2166"/>
                    </a:lnTo>
                    <a:lnTo>
                      <a:pt x="2634" y="2159"/>
                    </a:lnTo>
                    <a:lnTo>
                      <a:pt x="2631" y="2136"/>
                    </a:lnTo>
                    <a:lnTo>
                      <a:pt x="2544" y="2190"/>
                    </a:lnTo>
                    <a:lnTo>
                      <a:pt x="2457" y="2121"/>
                    </a:lnTo>
                    <a:lnTo>
                      <a:pt x="2337" y="2052"/>
                    </a:lnTo>
                    <a:lnTo>
                      <a:pt x="2232" y="1941"/>
                    </a:lnTo>
                    <a:lnTo>
                      <a:pt x="2127" y="1749"/>
                    </a:lnTo>
                    <a:lnTo>
                      <a:pt x="2045" y="1507"/>
                    </a:lnTo>
                    <a:lnTo>
                      <a:pt x="1941" y="1448"/>
                    </a:lnTo>
                    <a:lnTo>
                      <a:pt x="1776" y="1310"/>
                    </a:lnTo>
                    <a:lnTo>
                      <a:pt x="1665" y="1189"/>
                    </a:lnTo>
                    <a:lnTo>
                      <a:pt x="1641" y="1086"/>
                    </a:lnTo>
                    <a:lnTo>
                      <a:pt x="1644" y="994"/>
                    </a:lnTo>
                    <a:lnTo>
                      <a:pt x="1683" y="940"/>
                    </a:lnTo>
                    <a:lnTo>
                      <a:pt x="1683" y="893"/>
                    </a:lnTo>
                    <a:lnTo>
                      <a:pt x="1626" y="821"/>
                    </a:lnTo>
                    <a:lnTo>
                      <a:pt x="1621" y="767"/>
                    </a:lnTo>
                    <a:lnTo>
                      <a:pt x="1652" y="701"/>
                    </a:lnTo>
                    <a:lnTo>
                      <a:pt x="1684" y="697"/>
                    </a:lnTo>
                    <a:lnTo>
                      <a:pt x="1784" y="663"/>
                    </a:lnTo>
                    <a:lnTo>
                      <a:pt x="1887" y="606"/>
                    </a:lnTo>
                    <a:lnTo>
                      <a:pt x="1937" y="623"/>
                    </a:lnTo>
                    <a:lnTo>
                      <a:pt x="1990" y="595"/>
                    </a:lnTo>
                    <a:lnTo>
                      <a:pt x="2044" y="615"/>
                    </a:lnTo>
                    <a:lnTo>
                      <a:pt x="2073" y="619"/>
                    </a:lnTo>
                    <a:lnTo>
                      <a:pt x="2086" y="585"/>
                    </a:lnTo>
                    <a:lnTo>
                      <a:pt x="2068" y="549"/>
                    </a:lnTo>
                    <a:lnTo>
                      <a:pt x="1988" y="510"/>
                    </a:lnTo>
                    <a:lnTo>
                      <a:pt x="2024" y="457"/>
                    </a:lnTo>
                    <a:lnTo>
                      <a:pt x="2018" y="425"/>
                    </a:lnTo>
                    <a:lnTo>
                      <a:pt x="1960" y="364"/>
                    </a:lnTo>
                    <a:lnTo>
                      <a:pt x="2026" y="239"/>
                    </a:lnTo>
                    <a:lnTo>
                      <a:pt x="1914" y="183"/>
                    </a:lnTo>
                    <a:lnTo>
                      <a:pt x="1687" y="176"/>
                    </a:lnTo>
                    <a:lnTo>
                      <a:pt x="1634" y="92"/>
                    </a:lnTo>
                    <a:lnTo>
                      <a:pt x="1566" y="0"/>
                    </a:lnTo>
                    <a:lnTo>
                      <a:pt x="1331" y="51"/>
                    </a:lnTo>
                    <a:lnTo>
                      <a:pt x="1260" y="122"/>
                    </a:lnTo>
                    <a:lnTo>
                      <a:pt x="1149" y="88"/>
                    </a:lnTo>
                    <a:lnTo>
                      <a:pt x="1072" y="89"/>
                    </a:lnTo>
                    <a:lnTo>
                      <a:pt x="1110" y="165"/>
                    </a:lnTo>
                    <a:lnTo>
                      <a:pt x="1100" y="212"/>
                    </a:lnTo>
                    <a:lnTo>
                      <a:pt x="994" y="302"/>
                    </a:lnTo>
                    <a:lnTo>
                      <a:pt x="975" y="369"/>
                    </a:lnTo>
                    <a:lnTo>
                      <a:pt x="955" y="365"/>
                    </a:lnTo>
                    <a:lnTo>
                      <a:pt x="895" y="326"/>
                    </a:lnTo>
                    <a:lnTo>
                      <a:pt x="838" y="313"/>
                    </a:lnTo>
                    <a:lnTo>
                      <a:pt x="778" y="347"/>
                    </a:lnTo>
                    <a:lnTo>
                      <a:pt x="678" y="328"/>
                    </a:lnTo>
                    <a:lnTo>
                      <a:pt x="654" y="362"/>
                    </a:lnTo>
                    <a:lnTo>
                      <a:pt x="667" y="491"/>
                    </a:lnTo>
                    <a:lnTo>
                      <a:pt x="636" y="501"/>
                    </a:lnTo>
                    <a:lnTo>
                      <a:pt x="636" y="501"/>
                    </a:lnTo>
                    <a:lnTo>
                      <a:pt x="631" y="499"/>
                    </a:lnTo>
                    <a:lnTo>
                      <a:pt x="620" y="495"/>
                    </a:lnTo>
                    <a:lnTo>
                      <a:pt x="613" y="491"/>
                    </a:lnTo>
                    <a:lnTo>
                      <a:pt x="607" y="488"/>
                    </a:lnTo>
                    <a:lnTo>
                      <a:pt x="604" y="483"/>
                    </a:lnTo>
                    <a:lnTo>
                      <a:pt x="603" y="481"/>
                    </a:lnTo>
                    <a:lnTo>
                      <a:pt x="603" y="478"/>
                    </a:lnTo>
                    <a:lnTo>
                      <a:pt x="603" y="478"/>
                    </a:lnTo>
                    <a:lnTo>
                      <a:pt x="602" y="415"/>
                    </a:lnTo>
                    <a:lnTo>
                      <a:pt x="599" y="412"/>
                    </a:lnTo>
                    <a:lnTo>
                      <a:pt x="595" y="417"/>
                    </a:lnTo>
                    <a:lnTo>
                      <a:pt x="571" y="433"/>
                    </a:lnTo>
                    <a:lnTo>
                      <a:pt x="548" y="495"/>
                    </a:lnTo>
                    <a:lnTo>
                      <a:pt x="507" y="558"/>
                    </a:lnTo>
                    <a:lnTo>
                      <a:pt x="504" y="525"/>
                    </a:lnTo>
                    <a:lnTo>
                      <a:pt x="468" y="499"/>
                    </a:lnTo>
                    <a:lnTo>
                      <a:pt x="485" y="487"/>
                    </a:lnTo>
                    <a:lnTo>
                      <a:pt x="525" y="486"/>
                    </a:lnTo>
                    <a:lnTo>
                      <a:pt x="537" y="434"/>
                    </a:lnTo>
                    <a:lnTo>
                      <a:pt x="596" y="410"/>
                    </a:lnTo>
                    <a:lnTo>
                      <a:pt x="525" y="350"/>
                    </a:lnTo>
                    <a:lnTo>
                      <a:pt x="470" y="281"/>
                    </a:lnTo>
                    <a:lnTo>
                      <a:pt x="451" y="314"/>
                    </a:lnTo>
                    <a:lnTo>
                      <a:pt x="415" y="321"/>
                    </a:lnTo>
                    <a:lnTo>
                      <a:pt x="352" y="431"/>
                    </a:lnTo>
                    <a:lnTo>
                      <a:pt x="282" y="451"/>
                    </a:lnTo>
                    <a:lnTo>
                      <a:pt x="192" y="442"/>
                    </a:lnTo>
                    <a:lnTo>
                      <a:pt x="76" y="502"/>
                    </a:lnTo>
                    <a:lnTo>
                      <a:pt x="50" y="572"/>
                    </a:lnTo>
                    <a:lnTo>
                      <a:pt x="77" y="636"/>
                    </a:lnTo>
                    <a:lnTo>
                      <a:pt x="108" y="749"/>
                    </a:lnTo>
                    <a:lnTo>
                      <a:pt x="33" y="842"/>
                    </a:lnTo>
                    <a:lnTo>
                      <a:pt x="0" y="911"/>
                    </a:lnTo>
                    <a:lnTo>
                      <a:pt x="64" y="981"/>
                    </a:lnTo>
                    <a:lnTo>
                      <a:pt x="80" y="1014"/>
                    </a:lnTo>
                    <a:lnTo>
                      <a:pt x="72" y="1084"/>
                    </a:lnTo>
                    <a:lnTo>
                      <a:pt x="53" y="1183"/>
                    </a:lnTo>
                    <a:lnTo>
                      <a:pt x="156" y="1225"/>
                    </a:lnTo>
                    <a:lnTo>
                      <a:pt x="230" y="1239"/>
                    </a:lnTo>
                    <a:lnTo>
                      <a:pt x="256" y="1304"/>
                    </a:lnTo>
                    <a:lnTo>
                      <a:pt x="287" y="1315"/>
                    </a:lnTo>
                    <a:lnTo>
                      <a:pt x="291" y="1340"/>
                    </a:lnTo>
                    <a:lnTo>
                      <a:pt x="264" y="1367"/>
                    </a:lnTo>
                    <a:lnTo>
                      <a:pt x="285" y="1410"/>
                    </a:lnTo>
                    <a:lnTo>
                      <a:pt x="345" y="1397"/>
                    </a:lnTo>
                    <a:lnTo>
                      <a:pt x="390" y="1350"/>
                    </a:lnTo>
                    <a:lnTo>
                      <a:pt x="463" y="1233"/>
                    </a:lnTo>
                    <a:lnTo>
                      <a:pt x="506" y="1186"/>
                    </a:lnTo>
                    <a:lnTo>
                      <a:pt x="609" y="1175"/>
                    </a:lnTo>
                    <a:lnTo>
                      <a:pt x="662" y="1194"/>
                    </a:lnTo>
                    <a:lnTo>
                      <a:pt x="729" y="1204"/>
                    </a:lnTo>
                    <a:lnTo>
                      <a:pt x="834" y="1292"/>
                    </a:lnTo>
                    <a:lnTo>
                      <a:pt x="937" y="1318"/>
                    </a:lnTo>
                    <a:lnTo>
                      <a:pt x="1011" y="1343"/>
                    </a:lnTo>
                    <a:lnTo>
                      <a:pt x="1021" y="1430"/>
                    </a:lnTo>
                    <a:lnTo>
                      <a:pt x="1039" y="1523"/>
                    </a:lnTo>
                    <a:lnTo>
                      <a:pt x="1093" y="1689"/>
                    </a:lnTo>
                    <a:lnTo>
                      <a:pt x="1111" y="1761"/>
                    </a:lnTo>
                    <a:lnTo>
                      <a:pt x="1088" y="1805"/>
                    </a:lnTo>
                    <a:lnTo>
                      <a:pt x="1094" y="1821"/>
                    </a:lnTo>
                    <a:lnTo>
                      <a:pt x="1135" y="1814"/>
                    </a:lnTo>
                    <a:lnTo>
                      <a:pt x="1195" y="1847"/>
                    </a:lnTo>
                    <a:lnTo>
                      <a:pt x="1179" y="1894"/>
                    </a:lnTo>
                    <a:lnTo>
                      <a:pt x="1233" y="1909"/>
                    </a:lnTo>
                    <a:lnTo>
                      <a:pt x="1286" y="1955"/>
                    </a:lnTo>
                    <a:lnTo>
                      <a:pt x="1249" y="1985"/>
                    </a:lnTo>
                    <a:lnTo>
                      <a:pt x="1266" y="2025"/>
                    </a:lnTo>
                    <a:lnTo>
                      <a:pt x="1296" y="1999"/>
                    </a:lnTo>
                    <a:lnTo>
                      <a:pt x="1376" y="1984"/>
                    </a:lnTo>
                    <a:lnTo>
                      <a:pt x="1453" y="2070"/>
                    </a:lnTo>
                    <a:lnTo>
                      <a:pt x="1494" y="2152"/>
                    </a:lnTo>
                    <a:lnTo>
                      <a:pt x="1558" y="2206"/>
                    </a:lnTo>
                    <a:lnTo>
                      <a:pt x="1679" y="2341"/>
                    </a:lnTo>
                    <a:lnTo>
                      <a:pt x="1843" y="2462"/>
                    </a:lnTo>
                    <a:lnTo>
                      <a:pt x="1907" y="2454"/>
                    </a:lnTo>
                    <a:lnTo>
                      <a:pt x="1970" y="2490"/>
                    </a:lnTo>
                    <a:lnTo>
                      <a:pt x="2064" y="2467"/>
                    </a:lnTo>
                    <a:lnTo>
                      <a:pt x="2148" y="2575"/>
                    </a:lnTo>
                    <a:lnTo>
                      <a:pt x="2225" y="2637"/>
                    </a:lnTo>
                    <a:lnTo>
                      <a:pt x="2282" y="2647"/>
                    </a:lnTo>
                    <a:lnTo>
                      <a:pt x="2255" y="2704"/>
                    </a:lnTo>
                    <a:lnTo>
                      <a:pt x="2282" y="2723"/>
                    </a:lnTo>
                    <a:lnTo>
                      <a:pt x="2366" y="2693"/>
                    </a:lnTo>
                    <a:lnTo>
                      <a:pt x="2424" y="2789"/>
                    </a:lnTo>
                    <a:lnTo>
                      <a:pt x="2420" y="2825"/>
                    </a:lnTo>
                    <a:lnTo>
                      <a:pt x="2457" y="2901"/>
                    </a:lnTo>
                    <a:lnTo>
                      <a:pt x="2531" y="2937"/>
                    </a:lnTo>
                    <a:lnTo>
                      <a:pt x="2618" y="2919"/>
                    </a:lnTo>
                    <a:lnTo>
                      <a:pt x="2674" y="2988"/>
                    </a:lnTo>
                    <a:lnTo>
                      <a:pt x="2709" y="3111"/>
                    </a:lnTo>
                    <a:lnTo>
                      <a:pt x="2770" y="3246"/>
                    </a:lnTo>
                    <a:lnTo>
                      <a:pt x="2808" y="3305"/>
                    </a:lnTo>
                    <a:lnTo>
                      <a:pt x="2811" y="3349"/>
                    </a:lnTo>
                    <a:lnTo>
                      <a:pt x="2803" y="3409"/>
                    </a:lnTo>
                    <a:lnTo>
                      <a:pt x="2759" y="3426"/>
                    </a:lnTo>
                    <a:lnTo>
                      <a:pt x="2706" y="3449"/>
                    </a:lnTo>
                    <a:lnTo>
                      <a:pt x="2692" y="3479"/>
                    </a:lnTo>
                    <a:lnTo>
                      <a:pt x="2723" y="3526"/>
                    </a:lnTo>
                    <a:lnTo>
                      <a:pt x="2700" y="3573"/>
                    </a:lnTo>
                    <a:lnTo>
                      <a:pt x="2634" y="3596"/>
                    </a:lnTo>
                    <a:lnTo>
                      <a:pt x="2634" y="3626"/>
                    </a:lnTo>
                    <a:lnTo>
                      <a:pt x="2669" y="3722"/>
                    </a:lnTo>
                    <a:lnTo>
                      <a:pt x="2712" y="3761"/>
                    </a:lnTo>
                    <a:lnTo>
                      <a:pt x="2765" y="3741"/>
                    </a:lnTo>
                    <a:lnTo>
                      <a:pt x="2765" y="3741"/>
                    </a:lnTo>
                    <a:lnTo>
                      <a:pt x="2815" y="3664"/>
                    </a:lnTo>
                    <a:lnTo>
                      <a:pt x="2815" y="3664"/>
                    </a:lnTo>
                    <a:lnTo>
                      <a:pt x="2943" y="3527"/>
                    </a:lnTo>
                    <a:lnTo>
                      <a:pt x="2945" y="3430"/>
                    </a:lnTo>
                    <a:lnTo>
                      <a:pt x="2942" y="3355"/>
                    </a:lnTo>
                    <a:lnTo>
                      <a:pt x="3038" y="3304"/>
                    </a:lnTo>
                    <a:lnTo>
                      <a:pt x="3105" y="3293"/>
                    </a:lnTo>
                    <a:lnTo>
                      <a:pt x="3107" y="3240"/>
                    </a:lnTo>
                    <a:lnTo>
                      <a:pt x="3087" y="3157"/>
                    </a:lnTo>
                    <a:lnTo>
                      <a:pt x="3059" y="3095"/>
                    </a:lnTo>
                    <a:lnTo>
                      <a:pt x="2962" y="3036"/>
                    </a:lnTo>
                    <a:lnTo>
                      <a:pt x="2902" y="2984"/>
                    </a:lnTo>
                    <a:lnTo>
                      <a:pt x="2967" y="2873"/>
                    </a:lnTo>
                    <a:lnTo>
                      <a:pt x="2943" y="2820"/>
                    </a:lnTo>
                    <a:lnTo>
                      <a:pt x="3015" y="2736"/>
                    </a:lnTo>
                    <a:lnTo>
                      <a:pt x="3142" y="2715"/>
                    </a:lnTo>
                    <a:lnTo>
                      <a:pt x="3176" y="2732"/>
                    </a:lnTo>
                    <a:lnTo>
                      <a:pt x="3152" y="2745"/>
                    </a:lnTo>
                    <a:lnTo>
                      <a:pt x="3156" y="2785"/>
                    </a:lnTo>
                    <a:lnTo>
                      <a:pt x="3323" y="2813"/>
                    </a:lnTo>
                    <a:lnTo>
                      <a:pt x="3367" y="2912"/>
                    </a:lnTo>
                    <a:lnTo>
                      <a:pt x="3471" y="2961"/>
                    </a:lnTo>
                    <a:lnTo>
                      <a:pt x="3488" y="2904"/>
                    </a:lnTo>
                    <a:lnTo>
                      <a:pt x="3513" y="2842"/>
                    </a:lnTo>
                    <a:lnTo>
                      <a:pt x="3470" y="278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2" name="Freeform 252">
                <a:extLst>
                  <a:ext uri="{FF2B5EF4-FFF2-40B4-BE49-F238E27FC236}">
                    <a16:creationId xmlns:a16="http://schemas.microsoft.com/office/drawing/2014/main" id="{F466D305-442C-4A48-8471-A555BBD76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0150" y="5319713"/>
                <a:ext cx="38100" cy="28575"/>
              </a:xfrm>
              <a:custGeom>
                <a:avLst/>
                <a:gdLst>
                  <a:gd name="T0" fmla="*/ 73 w 120"/>
                  <a:gd name="T1" fmla="*/ 27 h 87"/>
                  <a:gd name="T2" fmla="*/ 0 w 120"/>
                  <a:gd name="T3" fmla="*/ 34 h 87"/>
                  <a:gd name="T4" fmla="*/ 20 w 120"/>
                  <a:gd name="T5" fmla="*/ 63 h 87"/>
                  <a:gd name="T6" fmla="*/ 73 w 120"/>
                  <a:gd name="T7" fmla="*/ 57 h 87"/>
                  <a:gd name="T8" fmla="*/ 87 w 120"/>
                  <a:gd name="T9" fmla="*/ 87 h 87"/>
                  <a:gd name="T10" fmla="*/ 110 w 120"/>
                  <a:gd name="T11" fmla="*/ 82 h 87"/>
                  <a:gd name="T12" fmla="*/ 97 w 120"/>
                  <a:gd name="T13" fmla="*/ 53 h 87"/>
                  <a:gd name="T14" fmla="*/ 117 w 120"/>
                  <a:gd name="T15" fmla="*/ 47 h 87"/>
                  <a:gd name="T16" fmla="*/ 120 w 120"/>
                  <a:gd name="T17" fmla="*/ 27 h 87"/>
                  <a:gd name="T18" fmla="*/ 109 w 120"/>
                  <a:gd name="T19" fmla="*/ 0 h 87"/>
                  <a:gd name="T20" fmla="*/ 73 w 120"/>
                  <a:gd name="T21" fmla="*/ 2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0" h="87">
                    <a:moveTo>
                      <a:pt x="73" y="27"/>
                    </a:moveTo>
                    <a:lnTo>
                      <a:pt x="0" y="34"/>
                    </a:lnTo>
                    <a:lnTo>
                      <a:pt x="20" y="63"/>
                    </a:lnTo>
                    <a:lnTo>
                      <a:pt x="73" y="57"/>
                    </a:lnTo>
                    <a:lnTo>
                      <a:pt x="87" y="87"/>
                    </a:lnTo>
                    <a:lnTo>
                      <a:pt x="110" y="82"/>
                    </a:lnTo>
                    <a:lnTo>
                      <a:pt x="97" y="53"/>
                    </a:lnTo>
                    <a:lnTo>
                      <a:pt x="117" y="47"/>
                    </a:lnTo>
                    <a:lnTo>
                      <a:pt x="120" y="27"/>
                    </a:lnTo>
                    <a:lnTo>
                      <a:pt x="109" y="0"/>
                    </a:lnTo>
                    <a:lnTo>
                      <a:pt x="73" y="2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3" name="Freeform 253">
                <a:extLst>
                  <a:ext uri="{FF2B5EF4-FFF2-40B4-BE49-F238E27FC236}">
                    <a16:creationId xmlns:a16="http://schemas.microsoft.com/office/drawing/2014/main" id="{52A33DDE-A26E-4B5D-A87E-D8B35692E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175" y="5853113"/>
                <a:ext cx="15875" cy="17463"/>
              </a:xfrm>
              <a:custGeom>
                <a:avLst/>
                <a:gdLst>
                  <a:gd name="T0" fmla="*/ 14 w 47"/>
                  <a:gd name="T1" fmla="*/ 0 h 53"/>
                  <a:gd name="T2" fmla="*/ 0 w 47"/>
                  <a:gd name="T3" fmla="*/ 13 h 53"/>
                  <a:gd name="T4" fmla="*/ 27 w 47"/>
                  <a:gd name="T5" fmla="*/ 53 h 53"/>
                  <a:gd name="T6" fmla="*/ 47 w 47"/>
                  <a:gd name="T7" fmla="*/ 11 h 53"/>
                  <a:gd name="T8" fmla="*/ 14 w 47"/>
                  <a:gd name="T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53">
                    <a:moveTo>
                      <a:pt x="14" y="0"/>
                    </a:moveTo>
                    <a:lnTo>
                      <a:pt x="0" y="13"/>
                    </a:lnTo>
                    <a:lnTo>
                      <a:pt x="27" y="53"/>
                    </a:lnTo>
                    <a:lnTo>
                      <a:pt x="47" y="11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4" name="Freeform 254">
                <a:extLst>
                  <a:ext uri="{FF2B5EF4-FFF2-40B4-BE49-F238E27FC236}">
                    <a16:creationId xmlns:a16="http://schemas.microsoft.com/office/drawing/2014/main" id="{BD42C5C8-D6FA-4DE0-A057-F8AD0239CA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025" y="6049963"/>
                <a:ext cx="19050" cy="17463"/>
              </a:xfrm>
              <a:custGeom>
                <a:avLst/>
                <a:gdLst>
                  <a:gd name="T0" fmla="*/ 0 w 57"/>
                  <a:gd name="T1" fmla="*/ 14 h 54"/>
                  <a:gd name="T2" fmla="*/ 27 w 57"/>
                  <a:gd name="T3" fmla="*/ 54 h 54"/>
                  <a:gd name="T4" fmla="*/ 57 w 57"/>
                  <a:gd name="T5" fmla="*/ 34 h 54"/>
                  <a:gd name="T6" fmla="*/ 14 w 57"/>
                  <a:gd name="T7" fmla="*/ 0 h 54"/>
                  <a:gd name="T8" fmla="*/ 0 w 57"/>
                  <a:gd name="T9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54">
                    <a:moveTo>
                      <a:pt x="0" y="14"/>
                    </a:moveTo>
                    <a:lnTo>
                      <a:pt x="27" y="54"/>
                    </a:lnTo>
                    <a:lnTo>
                      <a:pt x="57" y="34"/>
                    </a:lnTo>
                    <a:lnTo>
                      <a:pt x="14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5" name="Freeform 255">
                <a:extLst>
                  <a:ext uri="{FF2B5EF4-FFF2-40B4-BE49-F238E27FC236}">
                    <a16:creationId xmlns:a16="http://schemas.microsoft.com/office/drawing/2014/main" id="{D071D441-55AD-423B-A63F-C0BA4A63F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3988" y="5888038"/>
                <a:ext cx="296863" cy="193675"/>
              </a:xfrm>
              <a:custGeom>
                <a:avLst/>
                <a:gdLst>
                  <a:gd name="T0" fmla="*/ 911 w 935"/>
                  <a:gd name="T1" fmla="*/ 0 h 612"/>
                  <a:gd name="T2" fmla="*/ 885 w 935"/>
                  <a:gd name="T3" fmla="*/ 23 h 612"/>
                  <a:gd name="T4" fmla="*/ 828 w 935"/>
                  <a:gd name="T5" fmla="*/ 28 h 612"/>
                  <a:gd name="T6" fmla="*/ 796 w 935"/>
                  <a:gd name="T7" fmla="*/ 51 h 612"/>
                  <a:gd name="T8" fmla="*/ 712 w 935"/>
                  <a:gd name="T9" fmla="*/ 42 h 612"/>
                  <a:gd name="T10" fmla="*/ 642 w 935"/>
                  <a:gd name="T11" fmla="*/ 79 h 612"/>
                  <a:gd name="T12" fmla="*/ 556 w 935"/>
                  <a:gd name="T13" fmla="*/ 99 h 612"/>
                  <a:gd name="T14" fmla="*/ 486 w 935"/>
                  <a:gd name="T15" fmla="*/ 80 h 612"/>
                  <a:gd name="T16" fmla="*/ 409 w 935"/>
                  <a:gd name="T17" fmla="*/ 108 h 612"/>
                  <a:gd name="T18" fmla="*/ 339 w 935"/>
                  <a:gd name="T19" fmla="*/ 115 h 612"/>
                  <a:gd name="T20" fmla="*/ 309 w 935"/>
                  <a:gd name="T21" fmla="*/ 69 h 612"/>
                  <a:gd name="T22" fmla="*/ 269 w 935"/>
                  <a:gd name="T23" fmla="*/ 66 h 612"/>
                  <a:gd name="T24" fmla="*/ 228 w 935"/>
                  <a:gd name="T25" fmla="*/ 43 h 612"/>
                  <a:gd name="T26" fmla="*/ 179 w 935"/>
                  <a:gd name="T27" fmla="*/ 90 h 612"/>
                  <a:gd name="T28" fmla="*/ 149 w 935"/>
                  <a:gd name="T29" fmla="*/ 100 h 612"/>
                  <a:gd name="T30" fmla="*/ 119 w 935"/>
                  <a:gd name="T31" fmla="*/ 64 h 612"/>
                  <a:gd name="T32" fmla="*/ 108 w 935"/>
                  <a:gd name="T33" fmla="*/ 43 h 612"/>
                  <a:gd name="T34" fmla="*/ 78 w 935"/>
                  <a:gd name="T35" fmla="*/ 38 h 612"/>
                  <a:gd name="T36" fmla="*/ 79 w 935"/>
                  <a:gd name="T37" fmla="*/ 71 h 612"/>
                  <a:gd name="T38" fmla="*/ 42 w 935"/>
                  <a:gd name="T39" fmla="*/ 88 h 612"/>
                  <a:gd name="T40" fmla="*/ 0 w 935"/>
                  <a:gd name="T41" fmla="*/ 152 h 612"/>
                  <a:gd name="T42" fmla="*/ 27 w 935"/>
                  <a:gd name="T43" fmla="*/ 244 h 612"/>
                  <a:gd name="T44" fmla="*/ 140 w 935"/>
                  <a:gd name="T45" fmla="*/ 263 h 612"/>
                  <a:gd name="T46" fmla="*/ 164 w 935"/>
                  <a:gd name="T47" fmla="*/ 286 h 612"/>
                  <a:gd name="T48" fmla="*/ 274 w 935"/>
                  <a:gd name="T49" fmla="*/ 338 h 612"/>
                  <a:gd name="T50" fmla="*/ 406 w 935"/>
                  <a:gd name="T51" fmla="*/ 440 h 612"/>
                  <a:gd name="T52" fmla="*/ 523 w 935"/>
                  <a:gd name="T53" fmla="*/ 442 h 612"/>
                  <a:gd name="T54" fmla="*/ 616 w 935"/>
                  <a:gd name="T55" fmla="*/ 534 h 612"/>
                  <a:gd name="T56" fmla="*/ 690 w 935"/>
                  <a:gd name="T57" fmla="*/ 563 h 612"/>
                  <a:gd name="T58" fmla="*/ 763 w 935"/>
                  <a:gd name="T59" fmla="*/ 589 h 612"/>
                  <a:gd name="T60" fmla="*/ 803 w 935"/>
                  <a:gd name="T61" fmla="*/ 612 h 612"/>
                  <a:gd name="T62" fmla="*/ 830 w 935"/>
                  <a:gd name="T63" fmla="*/ 598 h 612"/>
                  <a:gd name="T64" fmla="*/ 810 w 935"/>
                  <a:gd name="T65" fmla="*/ 543 h 612"/>
                  <a:gd name="T66" fmla="*/ 859 w 935"/>
                  <a:gd name="T67" fmla="*/ 479 h 612"/>
                  <a:gd name="T68" fmla="*/ 871 w 935"/>
                  <a:gd name="T69" fmla="*/ 406 h 612"/>
                  <a:gd name="T70" fmla="*/ 828 w 935"/>
                  <a:gd name="T71" fmla="*/ 350 h 612"/>
                  <a:gd name="T72" fmla="*/ 828 w 935"/>
                  <a:gd name="T73" fmla="*/ 350 h 612"/>
                  <a:gd name="T74" fmla="*/ 823 w 935"/>
                  <a:gd name="T75" fmla="*/ 273 h 612"/>
                  <a:gd name="T76" fmla="*/ 823 w 935"/>
                  <a:gd name="T77" fmla="*/ 273 h 612"/>
                  <a:gd name="T78" fmla="*/ 826 w 935"/>
                  <a:gd name="T79" fmla="*/ 265 h 612"/>
                  <a:gd name="T80" fmla="*/ 832 w 935"/>
                  <a:gd name="T81" fmla="*/ 250 h 612"/>
                  <a:gd name="T82" fmla="*/ 851 w 935"/>
                  <a:gd name="T83" fmla="*/ 208 h 612"/>
                  <a:gd name="T84" fmla="*/ 879 w 935"/>
                  <a:gd name="T85" fmla="*/ 150 h 612"/>
                  <a:gd name="T86" fmla="*/ 932 w 935"/>
                  <a:gd name="T87" fmla="*/ 57 h 612"/>
                  <a:gd name="T88" fmla="*/ 922 w 935"/>
                  <a:gd name="T89" fmla="*/ 20 h 612"/>
                  <a:gd name="T90" fmla="*/ 935 w 935"/>
                  <a:gd name="T91" fmla="*/ 0 h 612"/>
                  <a:gd name="T92" fmla="*/ 911 w 935"/>
                  <a:gd name="T93" fmla="*/ 0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35" h="612">
                    <a:moveTo>
                      <a:pt x="911" y="0"/>
                    </a:moveTo>
                    <a:lnTo>
                      <a:pt x="885" y="23"/>
                    </a:lnTo>
                    <a:lnTo>
                      <a:pt x="828" y="28"/>
                    </a:lnTo>
                    <a:lnTo>
                      <a:pt x="796" y="51"/>
                    </a:lnTo>
                    <a:lnTo>
                      <a:pt x="712" y="42"/>
                    </a:lnTo>
                    <a:lnTo>
                      <a:pt x="642" y="79"/>
                    </a:lnTo>
                    <a:lnTo>
                      <a:pt x="556" y="99"/>
                    </a:lnTo>
                    <a:lnTo>
                      <a:pt x="486" y="80"/>
                    </a:lnTo>
                    <a:lnTo>
                      <a:pt x="409" y="108"/>
                    </a:lnTo>
                    <a:lnTo>
                      <a:pt x="339" y="115"/>
                    </a:lnTo>
                    <a:lnTo>
                      <a:pt x="309" y="69"/>
                    </a:lnTo>
                    <a:lnTo>
                      <a:pt x="269" y="66"/>
                    </a:lnTo>
                    <a:lnTo>
                      <a:pt x="228" y="43"/>
                    </a:lnTo>
                    <a:lnTo>
                      <a:pt x="179" y="90"/>
                    </a:lnTo>
                    <a:lnTo>
                      <a:pt x="149" y="100"/>
                    </a:lnTo>
                    <a:lnTo>
                      <a:pt x="119" y="64"/>
                    </a:lnTo>
                    <a:lnTo>
                      <a:pt x="108" y="43"/>
                    </a:lnTo>
                    <a:lnTo>
                      <a:pt x="78" y="38"/>
                    </a:lnTo>
                    <a:lnTo>
                      <a:pt x="79" y="71"/>
                    </a:lnTo>
                    <a:lnTo>
                      <a:pt x="42" y="88"/>
                    </a:lnTo>
                    <a:lnTo>
                      <a:pt x="0" y="152"/>
                    </a:lnTo>
                    <a:lnTo>
                      <a:pt x="27" y="244"/>
                    </a:lnTo>
                    <a:lnTo>
                      <a:pt x="140" y="263"/>
                    </a:lnTo>
                    <a:lnTo>
                      <a:pt x="164" y="286"/>
                    </a:lnTo>
                    <a:lnTo>
                      <a:pt x="274" y="338"/>
                    </a:lnTo>
                    <a:lnTo>
                      <a:pt x="406" y="440"/>
                    </a:lnTo>
                    <a:lnTo>
                      <a:pt x="523" y="442"/>
                    </a:lnTo>
                    <a:lnTo>
                      <a:pt x="616" y="534"/>
                    </a:lnTo>
                    <a:lnTo>
                      <a:pt x="690" y="563"/>
                    </a:lnTo>
                    <a:lnTo>
                      <a:pt x="763" y="589"/>
                    </a:lnTo>
                    <a:lnTo>
                      <a:pt x="803" y="612"/>
                    </a:lnTo>
                    <a:lnTo>
                      <a:pt x="830" y="598"/>
                    </a:lnTo>
                    <a:lnTo>
                      <a:pt x="810" y="543"/>
                    </a:lnTo>
                    <a:lnTo>
                      <a:pt x="859" y="479"/>
                    </a:lnTo>
                    <a:lnTo>
                      <a:pt x="871" y="406"/>
                    </a:lnTo>
                    <a:lnTo>
                      <a:pt x="828" y="350"/>
                    </a:lnTo>
                    <a:lnTo>
                      <a:pt x="828" y="350"/>
                    </a:lnTo>
                    <a:lnTo>
                      <a:pt x="823" y="273"/>
                    </a:lnTo>
                    <a:lnTo>
                      <a:pt x="823" y="273"/>
                    </a:lnTo>
                    <a:lnTo>
                      <a:pt x="826" y="265"/>
                    </a:lnTo>
                    <a:lnTo>
                      <a:pt x="832" y="250"/>
                    </a:lnTo>
                    <a:lnTo>
                      <a:pt x="851" y="208"/>
                    </a:lnTo>
                    <a:lnTo>
                      <a:pt x="879" y="150"/>
                    </a:lnTo>
                    <a:lnTo>
                      <a:pt x="932" y="57"/>
                    </a:lnTo>
                    <a:lnTo>
                      <a:pt x="922" y="20"/>
                    </a:lnTo>
                    <a:lnTo>
                      <a:pt x="935" y="0"/>
                    </a:lnTo>
                    <a:lnTo>
                      <a:pt x="911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49" name="Freeform 256">
              <a:extLst>
                <a:ext uri="{FF2B5EF4-FFF2-40B4-BE49-F238E27FC236}">
                  <a16:creationId xmlns:a16="http://schemas.microsoft.com/office/drawing/2014/main" id="{C6C8222D-B781-4D65-9269-B913E86F3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125" y="5376863"/>
              <a:ext cx="14288" cy="12700"/>
            </a:xfrm>
            <a:custGeom>
              <a:avLst/>
              <a:gdLst>
                <a:gd name="T0" fmla="*/ 46 w 46"/>
                <a:gd name="T1" fmla="*/ 13 h 42"/>
                <a:gd name="T2" fmla="*/ 36 w 46"/>
                <a:gd name="T3" fmla="*/ 38 h 42"/>
                <a:gd name="T4" fmla="*/ 15 w 46"/>
                <a:gd name="T5" fmla="*/ 42 h 42"/>
                <a:gd name="T6" fmla="*/ 0 w 46"/>
                <a:gd name="T7" fmla="*/ 23 h 42"/>
                <a:gd name="T8" fmla="*/ 5 w 46"/>
                <a:gd name="T9" fmla="*/ 2 h 42"/>
                <a:gd name="T10" fmla="*/ 36 w 46"/>
                <a:gd name="T11" fmla="*/ 0 h 42"/>
                <a:gd name="T12" fmla="*/ 46 w 46"/>
                <a:gd name="T13" fmla="*/ 1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2">
                  <a:moveTo>
                    <a:pt x="46" y="13"/>
                  </a:moveTo>
                  <a:lnTo>
                    <a:pt x="36" y="38"/>
                  </a:lnTo>
                  <a:lnTo>
                    <a:pt x="15" y="42"/>
                  </a:lnTo>
                  <a:lnTo>
                    <a:pt x="0" y="23"/>
                  </a:lnTo>
                  <a:lnTo>
                    <a:pt x="5" y="2"/>
                  </a:lnTo>
                  <a:lnTo>
                    <a:pt x="36" y="0"/>
                  </a:lnTo>
                  <a:lnTo>
                    <a:pt x="46" y="13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0" name="Freeform 257">
              <a:extLst>
                <a:ext uri="{FF2B5EF4-FFF2-40B4-BE49-F238E27FC236}">
                  <a16:creationId xmlns:a16="http://schemas.microsoft.com/office/drawing/2014/main" id="{2F1D39CF-E47E-4D08-BC3F-153D6B567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38" y="5165725"/>
              <a:ext cx="12700" cy="15875"/>
            </a:xfrm>
            <a:custGeom>
              <a:avLst/>
              <a:gdLst>
                <a:gd name="T0" fmla="*/ 39 w 39"/>
                <a:gd name="T1" fmla="*/ 7 h 48"/>
                <a:gd name="T2" fmla="*/ 32 w 39"/>
                <a:gd name="T3" fmla="*/ 40 h 48"/>
                <a:gd name="T4" fmla="*/ 14 w 39"/>
                <a:gd name="T5" fmla="*/ 48 h 48"/>
                <a:gd name="T6" fmla="*/ 0 w 39"/>
                <a:gd name="T7" fmla="*/ 39 h 48"/>
                <a:gd name="T8" fmla="*/ 3 w 39"/>
                <a:gd name="T9" fmla="*/ 18 h 48"/>
                <a:gd name="T10" fmla="*/ 27 w 39"/>
                <a:gd name="T11" fmla="*/ 0 h 48"/>
                <a:gd name="T12" fmla="*/ 39 w 39"/>
                <a:gd name="T13" fmla="*/ 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48">
                  <a:moveTo>
                    <a:pt x="39" y="7"/>
                  </a:moveTo>
                  <a:lnTo>
                    <a:pt x="32" y="40"/>
                  </a:lnTo>
                  <a:lnTo>
                    <a:pt x="14" y="48"/>
                  </a:lnTo>
                  <a:lnTo>
                    <a:pt x="0" y="39"/>
                  </a:lnTo>
                  <a:lnTo>
                    <a:pt x="3" y="18"/>
                  </a:lnTo>
                  <a:lnTo>
                    <a:pt x="27" y="0"/>
                  </a:lnTo>
                  <a:lnTo>
                    <a:pt x="39" y="7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595D8F59-B1E4-4416-A2AD-777153B9CB41}"/>
                </a:ext>
              </a:extLst>
            </p:cNvPr>
            <p:cNvGrpSpPr/>
            <p:nvPr/>
          </p:nvGrpSpPr>
          <p:grpSpPr>
            <a:xfrm>
              <a:off x="4127500" y="6143625"/>
              <a:ext cx="46038" cy="26988"/>
              <a:chOff x="4127500" y="6143625"/>
              <a:chExt cx="46038" cy="26988"/>
            </a:xfrm>
            <a:solidFill>
              <a:sysClr val="window" lastClr="FFFFFF">
                <a:lumMod val="75000"/>
              </a:sysClr>
            </a:solidFill>
          </p:grpSpPr>
          <p:sp>
            <p:nvSpPr>
              <p:cNvPr id="138" name="Freeform 258">
                <a:extLst>
                  <a:ext uri="{FF2B5EF4-FFF2-40B4-BE49-F238E27FC236}">
                    <a16:creationId xmlns:a16="http://schemas.microsoft.com/office/drawing/2014/main" id="{1513001E-B5B5-422F-B8FE-E6B2A2FDC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6143625"/>
                <a:ext cx="17463" cy="12700"/>
              </a:xfrm>
              <a:custGeom>
                <a:avLst/>
                <a:gdLst>
                  <a:gd name="T0" fmla="*/ 57 w 57"/>
                  <a:gd name="T1" fmla="*/ 24 h 44"/>
                  <a:gd name="T2" fmla="*/ 27 w 57"/>
                  <a:gd name="T3" fmla="*/ 44 h 44"/>
                  <a:gd name="T4" fmla="*/ 0 w 57"/>
                  <a:gd name="T5" fmla="*/ 4 h 44"/>
                  <a:gd name="T6" fmla="*/ 46 w 57"/>
                  <a:gd name="T7" fmla="*/ 0 h 44"/>
                  <a:gd name="T8" fmla="*/ 57 w 57"/>
                  <a:gd name="T9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44">
                    <a:moveTo>
                      <a:pt x="57" y="24"/>
                    </a:moveTo>
                    <a:lnTo>
                      <a:pt x="27" y="44"/>
                    </a:lnTo>
                    <a:lnTo>
                      <a:pt x="0" y="4"/>
                    </a:lnTo>
                    <a:lnTo>
                      <a:pt x="46" y="0"/>
                    </a:lnTo>
                    <a:lnTo>
                      <a:pt x="57" y="2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9" name="Freeform 259">
                <a:extLst>
                  <a:ext uri="{FF2B5EF4-FFF2-40B4-BE49-F238E27FC236}">
                    <a16:creationId xmlns:a16="http://schemas.microsoft.com/office/drawing/2014/main" id="{C1010134-D986-478F-984E-1CA87009E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1788" y="6154738"/>
                <a:ext cx="31750" cy="15875"/>
              </a:xfrm>
              <a:custGeom>
                <a:avLst/>
                <a:gdLst>
                  <a:gd name="T0" fmla="*/ 69 w 97"/>
                  <a:gd name="T1" fmla="*/ 0 h 53"/>
                  <a:gd name="T2" fmla="*/ 33 w 97"/>
                  <a:gd name="T3" fmla="*/ 0 h 53"/>
                  <a:gd name="T4" fmla="*/ 0 w 97"/>
                  <a:gd name="T5" fmla="*/ 14 h 53"/>
                  <a:gd name="T6" fmla="*/ 30 w 97"/>
                  <a:gd name="T7" fmla="*/ 50 h 53"/>
                  <a:gd name="T8" fmla="*/ 43 w 97"/>
                  <a:gd name="T9" fmla="*/ 53 h 53"/>
                  <a:gd name="T10" fmla="*/ 80 w 97"/>
                  <a:gd name="T11" fmla="*/ 50 h 53"/>
                  <a:gd name="T12" fmla="*/ 97 w 97"/>
                  <a:gd name="T13" fmla="*/ 23 h 53"/>
                  <a:gd name="T14" fmla="*/ 69 w 97"/>
                  <a:gd name="T15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53">
                    <a:moveTo>
                      <a:pt x="69" y="0"/>
                    </a:moveTo>
                    <a:lnTo>
                      <a:pt x="33" y="0"/>
                    </a:lnTo>
                    <a:lnTo>
                      <a:pt x="0" y="14"/>
                    </a:lnTo>
                    <a:lnTo>
                      <a:pt x="30" y="50"/>
                    </a:lnTo>
                    <a:lnTo>
                      <a:pt x="43" y="53"/>
                    </a:lnTo>
                    <a:lnTo>
                      <a:pt x="80" y="50"/>
                    </a:lnTo>
                    <a:lnTo>
                      <a:pt x="97" y="23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1598492-F0C5-42FD-92A1-33000901B0D2}"/>
                </a:ext>
              </a:extLst>
            </p:cNvPr>
            <p:cNvGrpSpPr/>
            <p:nvPr/>
          </p:nvGrpSpPr>
          <p:grpSpPr>
            <a:xfrm>
              <a:off x="2312988" y="4173538"/>
              <a:ext cx="1374775" cy="1339850"/>
              <a:chOff x="2312988" y="4173538"/>
              <a:chExt cx="1374775" cy="1339850"/>
            </a:xfrm>
          </p:grpSpPr>
          <p:grpSp>
            <p:nvGrpSpPr>
              <p:cNvPr id="133" name="Group 132">
                <a:extLst>
                  <a:ext uri="{FF2B5EF4-FFF2-40B4-BE49-F238E27FC236}">
                    <a16:creationId xmlns:a16="http://schemas.microsoft.com/office/drawing/2014/main" id="{3C689798-4E76-44E9-99D0-2540CF0EA806}"/>
                  </a:ext>
                </a:extLst>
              </p:cNvPr>
              <p:cNvGrpSpPr/>
              <p:nvPr/>
            </p:nvGrpSpPr>
            <p:grpSpPr>
              <a:xfrm>
                <a:off x="2312988" y="4173538"/>
                <a:ext cx="1246188" cy="1198563"/>
                <a:chOff x="2312988" y="4173538"/>
                <a:chExt cx="1246188" cy="1198563"/>
              </a:xfrm>
              <a:solidFill>
                <a:srgbClr val="1D2631">
                  <a:lumMod val="75000"/>
                  <a:lumOff val="25000"/>
                </a:srgbClr>
              </a:solidFill>
            </p:grpSpPr>
            <p:sp>
              <p:nvSpPr>
                <p:cNvPr id="135" name="Freeform 261">
                  <a:extLst>
                    <a:ext uri="{FF2B5EF4-FFF2-40B4-BE49-F238E27FC236}">
                      <a16:creationId xmlns:a16="http://schemas.microsoft.com/office/drawing/2014/main" id="{F9A9312F-FCDB-4804-A30B-F1A3A6D1D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6363" y="4870450"/>
                  <a:ext cx="12700" cy="15875"/>
                </a:xfrm>
                <a:custGeom>
                  <a:avLst/>
                  <a:gdLst>
                    <a:gd name="T0" fmla="*/ 24 w 38"/>
                    <a:gd name="T1" fmla="*/ 23 h 49"/>
                    <a:gd name="T2" fmla="*/ 38 w 38"/>
                    <a:gd name="T3" fmla="*/ 49 h 49"/>
                    <a:gd name="T4" fmla="*/ 1 w 38"/>
                    <a:gd name="T5" fmla="*/ 23 h 49"/>
                    <a:gd name="T6" fmla="*/ 0 w 38"/>
                    <a:gd name="T7" fmla="*/ 0 h 49"/>
                    <a:gd name="T8" fmla="*/ 24 w 38"/>
                    <a:gd name="T9" fmla="*/ 2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49">
                      <a:moveTo>
                        <a:pt x="24" y="23"/>
                      </a:moveTo>
                      <a:lnTo>
                        <a:pt x="38" y="49"/>
                      </a:lnTo>
                      <a:lnTo>
                        <a:pt x="1" y="23"/>
                      </a:lnTo>
                      <a:lnTo>
                        <a:pt x="0" y="0"/>
                      </a:lnTo>
                      <a:lnTo>
                        <a:pt x="24" y="23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136" name="Freeform 262">
                  <a:extLst>
                    <a:ext uri="{FF2B5EF4-FFF2-40B4-BE49-F238E27FC236}">
                      <a16:creationId xmlns:a16="http://schemas.microsoft.com/office/drawing/2014/main" id="{26FCD4E6-53E9-42F9-9B6F-918140C820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988" y="4173538"/>
                  <a:ext cx="1246188" cy="1198563"/>
                </a:xfrm>
                <a:custGeom>
                  <a:avLst/>
                  <a:gdLst>
                    <a:gd name="T0" fmla="*/ 3773 w 3923"/>
                    <a:gd name="T1" fmla="*/ 862 h 3774"/>
                    <a:gd name="T2" fmla="*/ 3285 w 3923"/>
                    <a:gd name="T3" fmla="*/ 741 h 3774"/>
                    <a:gd name="T4" fmla="*/ 2940 w 3923"/>
                    <a:gd name="T5" fmla="*/ 545 h 3774"/>
                    <a:gd name="T6" fmla="*/ 2672 w 3923"/>
                    <a:gd name="T7" fmla="*/ 381 h 3774"/>
                    <a:gd name="T8" fmla="*/ 2367 w 3923"/>
                    <a:gd name="T9" fmla="*/ 138 h 3774"/>
                    <a:gd name="T10" fmla="*/ 2178 w 3923"/>
                    <a:gd name="T11" fmla="*/ 10 h 3774"/>
                    <a:gd name="T12" fmla="*/ 1916 w 3923"/>
                    <a:gd name="T13" fmla="*/ 146 h 3774"/>
                    <a:gd name="T14" fmla="*/ 1922 w 3923"/>
                    <a:gd name="T15" fmla="*/ 388 h 3774"/>
                    <a:gd name="T16" fmla="*/ 1508 w 3923"/>
                    <a:gd name="T17" fmla="*/ 631 h 3774"/>
                    <a:gd name="T18" fmla="*/ 1515 w 3923"/>
                    <a:gd name="T19" fmla="*/ 740 h 3774"/>
                    <a:gd name="T20" fmla="*/ 1196 w 3923"/>
                    <a:gd name="T21" fmla="*/ 777 h 3774"/>
                    <a:gd name="T22" fmla="*/ 1058 w 3923"/>
                    <a:gd name="T23" fmla="*/ 648 h 3774"/>
                    <a:gd name="T24" fmla="*/ 845 w 3923"/>
                    <a:gd name="T25" fmla="*/ 617 h 3774"/>
                    <a:gd name="T26" fmla="*/ 954 w 3923"/>
                    <a:gd name="T27" fmla="*/ 858 h 3774"/>
                    <a:gd name="T28" fmla="*/ 986 w 3923"/>
                    <a:gd name="T29" fmla="*/ 1156 h 3774"/>
                    <a:gd name="T30" fmla="*/ 749 w 3923"/>
                    <a:gd name="T31" fmla="*/ 1119 h 3774"/>
                    <a:gd name="T32" fmla="*/ 432 w 3923"/>
                    <a:gd name="T33" fmla="*/ 1062 h 3774"/>
                    <a:gd name="T34" fmla="*/ 283 w 3923"/>
                    <a:gd name="T35" fmla="*/ 1110 h 3774"/>
                    <a:gd name="T36" fmla="*/ 47 w 3923"/>
                    <a:gd name="T37" fmla="*/ 1181 h 3774"/>
                    <a:gd name="T38" fmla="*/ 60 w 3923"/>
                    <a:gd name="T39" fmla="*/ 1244 h 3774"/>
                    <a:gd name="T40" fmla="*/ 85 w 3923"/>
                    <a:gd name="T41" fmla="*/ 1287 h 3774"/>
                    <a:gd name="T42" fmla="*/ 105 w 3923"/>
                    <a:gd name="T43" fmla="*/ 1330 h 3774"/>
                    <a:gd name="T44" fmla="*/ 36 w 3923"/>
                    <a:gd name="T45" fmla="*/ 1427 h 3774"/>
                    <a:gd name="T46" fmla="*/ 246 w 3923"/>
                    <a:gd name="T47" fmla="*/ 1462 h 3774"/>
                    <a:gd name="T48" fmla="*/ 457 w 3923"/>
                    <a:gd name="T49" fmla="*/ 1540 h 3774"/>
                    <a:gd name="T50" fmla="*/ 617 w 3923"/>
                    <a:gd name="T51" fmla="*/ 1628 h 3774"/>
                    <a:gd name="T52" fmla="*/ 709 w 3923"/>
                    <a:gd name="T53" fmla="*/ 1737 h 3774"/>
                    <a:gd name="T54" fmla="*/ 888 w 3923"/>
                    <a:gd name="T55" fmla="*/ 1778 h 3774"/>
                    <a:gd name="T56" fmla="*/ 860 w 3923"/>
                    <a:gd name="T57" fmla="*/ 1944 h 3774"/>
                    <a:gd name="T58" fmla="*/ 1092 w 3923"/>
                    <a:gd name="T59" fmla="*/ 2200 h 3774"/>
                    <a:gd name="T60" fmla="*/ 1104 w 3923"/>
                    <a:gd name="T61" fmla="*/ 2370 h 3774"/>
                    <a:gd name="T62" fmla="*/ 1250 w 3923"/>
                    <a:gd name="T63" fmla="*/ 2627 h 3774"/>
                    <a:gd name="T64" fmla="*/ 1163 w 3923"/>
                    <a:gd name="T65" fmla="*/ 2549 h 3774"/>
                    <a:gd name="T66" fmla="*/ 1103 w 3923"/>
                    <a:gd name="T67" fmla="*/ 2837 h 3774"/>
                    <a:gd name="T68" fmla="*/ 1076 w 3923"/>
                    <a:gd name="T69" fmla="*/ 3007 h 3774"/>
                    <a:gd name="T70" fmla="*/ 989 w 3923"/>
                    <a:gd name="T71" fmla="*/ 3394 h 3774"/>
                    <a:gd name="T72" fmla="*/ 1355 w 3923"/>
                    <a:gd name="T73" fmla="*/ 3573 h 3774"/>
                    <a:gd name="T74" fmla="*/ 1792 w 3923"/>
                    <a:gd name="T75" fmla="*/ 3599 h 3774"/>
                    <a:gd name="T76" fmla="*/ 2069 w 3923"/>
                    <a:gd name="T77" fmla="*/ 3739 h 3774"/>
                    <a:gd name="T78" fmla="*/ 2377 w 3923"/>
                    <a:gd name="T79" fmla="*/ 3707 h 3774"/>
                    <a:gd name="T80" fmla="*/ 2334 w 3923"/>
                    <a:gd name="T81" fmla="*/ 3588 h 3774"/>
                    <a:gd name="T82" fmla="*/ 2615 w 3923"/>
                    <a:gd name="T83" fmla="*/ 3316 h 3774"/>
                    <a:gd name="T84" fmla="*/ 2939 w 3923"/>
                    <a:gd name="T85" fmla="*/ 3346 h 3774"/>
                    <a:gd name="T86" fmla="*/ 3450 w 3923"/>
                    <a:gd name="T87" fmla="*/ 3447 h 3774"/>
                    <a:gd name="T88" fmla="*/ 3669 w 3923"/>
                    <a:gd name="T89" fmla="*/ 3245 h 3774"/>
                    <a:gd name="T90" fmla="*/ 3668 w 3923"/>
                    <a:gd name="T91" fmla="*/ 3235 h 3774"/>
                    <a:gd name="T92" fmla="*/ 3678 w 3923"/>
                    <a:gd name="T93" fmla="*/ 3227 h 3774"/>
                    <a:gd name="T94" fmla="*/ 3696 w 3923"/>
                    <a:gd name="T95" fmla="*/ 3230 h 3774"/>
                    <a:gd name="T96" fmla="*/ 3792 w 3923"/>
                    <a:gd name="T97" fmla="*/ 3200 h 3774"/>
                    <a:gd name="T98" fmla="*/ 3779 w 3923"/>
                    <a:gd name="T99" fmla="*/ 3089 h 3774"/>
                    <a:gd name="T100" fmla="*/ 3603 w 3923"/>
                    <a:gd name="T101" fmla="*/ 2799 h 3774"/>
                    <a:gd name="T102" fmla="*/ 3600 w 3923"/>
                    <a:gd name="T103" fmla="*/ 2421 h 3774"/>
                    <a:gd name="T104" fmla="*/ 3514 w 3923"/>
                    <a:gd name="T105" fmla="*/ 2125 h 3774"/>
                    <a:gd name="T106" fmla="*/ 3281 w 3923"/>
                    <a:gd name="T107" fmla="*/ 2208 h 3774"/>
                    <a:gd name="T108" fmla="*/ 3415 w 3923"/>
                    <a:gd name="T109" fmla="*/ 1852 h 3774"/>
                    <a:gd name="T110" fmla="*/ 3573 w 3923"/>
                    <a:gd name="T111" fmla="*/ 1601 h 3774"/>
                    <a:gd name="T112" fmla="*/ 3756 w 3923"/>
                    <a:gd name="T113" fmla="*/ 1265 h 3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923" h="3774">
                      <a:moveTo>
                        <a:pt x="3785" y="1092"/>
                      </a:moveTo>
                      <a:lnTo>
                        <a:pt x="3861" y="985"/>
                      </a:lnTo>
                      <a:lnTo>
                        <a:pt x="3923" y="930"/>
                      </a:lnTo>
                      <a:lnTo>
                        <a:pt x="3907" y="905"/>
                      </a:lnTo>
                      <a:lnTo>
                        <a:pt x="3773" y="862"/>
                      </a:lnTo>
                      <a:lnTo>
                        <a:pt x="3713" y="870"/>
                      </a:lnTo>
                      <a:lnTo>
                        <a:pt x="3626" y="833"/>
                      </a:lnTo>
                      <a:lnTo>
                        <a:pt x="3486" y="826"/>
                      </a:lnTo>
                      <a:lnTo>
                        <a:pt x="3372" y="710"/>
                      </a:lnTo>
                      <a:lnTo>
                        <a:pt x="3285" y="741"/>
                      </a:lnTo>
                      <a:lnTo>
                        <a:pt x="3238" y="731"/>
                      </a:lnTo>
                      <a:lnTo>
                        <a:pt x="3205" y="692"/>
                      </a:lnTo>
                      <a:lnTo>
                        <a:pt x="3105" y="706"/>
                      </a:lnTo>
                      <a:lnTo>
                        <a:pt x="2994" y="641"/>
                      </a:lnTo>
                      <a:lnTo>
                        <a:pt x="2940" y="545"/>
                      </a:lnTo>
                      <a:lnTo>
                        <a:pt x="2926" y="446"/>
                      </a:lnTo>
                      <a:lnTo>
                        <a:pt x="2896" y="426"/>
                      </a:lnTo>
                      <a:lnTo>
                        <a:pt x="2833" y="512"/>
                      </a:lnTo>
                      <a:lnTo>
                        <a:pt x="2727" y="487"/>
                      </a:lnTo>
                      <a:lnTo>
                        <a:pt x="2672" y="381"/>
                      </a:lnTo>
                      <a:lnTo>
                        <a:pt x="2617" y="268"/>
                      </a:lnTo>
                      <a:lnTo>
                        <a:pt x="2498" y="273"/>
                      </a:lnTo>
                      <a:lnTo>
                        <a:pt x="2448" y="244"/>
                      </a:lnTo>
                      <a:lnTo>
                        <a:pt x="2420" y="158"/>
                      </a:lnTo>
                      <a:lnTo>
                        <a:pt x="2367" y="138"/>
                      </a:lnTo>
                      <a:lnTo>
                        <a:pt x="2273" y="169"/>
                      </a:lnTo>
                      <a:lnTo>
                        <a:pt x="2260" y="112"/>
                      </a:lnTo>
                      <a:lnTo>
                        <a:pt x="2233" y="63"/>
                      </a:lnTo>
                      <a:lnTo>
                        <a:pt x="2238" y="0"/>
                      </a:lnTo>
                      <a:lnTo>
                        <a:pt x="2178" y="10"/>
                      </a:lnTo>
                      <a:lnTo>
                        <a:pt x="2069" y="31"/>
                      </a:lnTo>
                      <a:lnTo>
                        <a:pt x="2009" y="42"/>
                      </a:lnTo>
                      <a:lnTo>
                        <a:pt x="1962" y="66"/>
                      </a:lnTo>
                      <a:lnTo>
                        <a:pt x="1906" y="129"/>
                      </a:lnTo>
                      <a:lnTo>
                        <a:pt x="1916" y="146"/>
                      </a:lnTo>
                      <a:lnTo>
                        <a:pt x="1924" y="275"/>
                      </a:lnTo>
                      <a:lnTo>
                        <a:pt x="1909" y="305"/>
                      </a:lnTo>
                      <a:lnTo>
                        <a:pt x="1915" y="349"/>
                      </a:lnTo>
                      <a:lnTo>
                        <a:pt x="1949" y="374"/>
                      </a:lnTo>
                      <a:lnTo>
                        <a:pt x="1922" y="388"/>
                      </a:lnTo>
                      <a:lnTo>
                        <a:pt x="1863" y="458"/>
                      </a:lnTo>
                      <a:lnTo>
                        <a:pt x="1770" y="526"/>
                      </a:lnTo>
                      <a:lnTo>
                        <a:pt x="1697" y="546"/>
                      </a:lnTo>
                      <a:lnTo>
                        <a:pt x="1614" y="567"/>
                      </a:lnTo>
                      <a:lnTo>
                        <a:pt x="1508" y="631"/>
                      </a:lnTo>
                      <a:lnTo>
                        <a:pt x="1482" y="684"/>
                      </a:lnTo>
                      <a:lnTo>
                        <a:pt x="1479" y="717"/>
                      </a:lnTo>
                      <a:lnTo>
                        <a:pt x="1525" y="723"/>
                      </a:lnTo>
                      <a:lnTo>
                        <a:pt x="1609" y="749"/>
                      </a:lnTo>
                      <a:lnTo>
                        <a:pt x="1515" y="740"/>
                      </a:lnTo>
                      <a:lnTo>
                        <a:pt x="1473" y="770"/>
                      </a:lnTo>
                      <a:lnTo>
                        <a:pt x="1416" y="808"/>
                      </a:lnTo>
                      <a:lnTo>
                        <a:pt x="1309" y="812"/>
                      </a:lnTo>
                      <a:lnTo>
                        <a:pt x="1262" y="805"/>
                      </a:lnTo>
                      <a:lnTo>
                        <a:pt x="1196" y="777"/>
                      </a:lnTo>
                      <a:lnTo>
                        <a:pt x="1133" y="797"/>
                      </a:lnTo>
                      <a:lnTo>
                        <a:pt x="1090" y="778"/>
                      </a:lnTo>
                      <a:lnTo>
                        <a:pt x="1048" y="717"/>
                      </a:lnTo>
                      <a:lnTo>
                        <a:pt x="1072" y="684"/>
                      </a:lnTo>
                      <a:lnTo>
                        <a:pt x="1058" y="648"/>
                      </a:lnTo>
                      <a:lnTo>
                        <a:pt x="998" y="655"/>
                      </a:lnTo>
                      <a:lnTo>
                        <a:pt x="958" y="672"/>
                      </a:lnTo>
                      <a:lnTo>
                        <a:pt x="905" y="633"/>
                      </a:lnTo>
                      <a:lnTo>
                        <a:pt x="865" y="626"/>
                      </a:lnTo>
                      <a:lnTo>
                        <a:pt x="845" y="617"/>
                      </a:lnTo>
                      <a:lnTo>
                        <a:pt x="845" y="639"/>
                      </a:lnTo>
                      <a:lnTo>
                        <a:pt x="892" y="703"/>
                      </a:lnTo>
                      <a:lnTo>
                        <a:pt x="909" y="775"/>
                      </a:lnTo>
                      <a:lnTo>
                        <a:pt x="949" y="808"/>
                      </a:lnTo>
                      <a:lnTo>
                        <a:pt x="954" y="858"/>
                      </a:lnTo>
                      <a:lnTo>
                        <a:pt x="975" y="1061"/>
                      </a:lnTo>
                      <a:lnTo>
                        <a:pt x="1006" y="1116"/>
                      </a:lnTo>
                      <a:lnTo>
                        <a:pt x="1029" y="1136"/>
                      </a:lnTo>
                      <a:lnTo>
                        <a:pt x="1016" y="1163"/>
                      </a:lnTo>
                      <a:lnTo>
                        <a:pt x="986" y="1156"/>
                      </a:lnTo>
                      <a:lnTo>
                        <a:pt x="933" y="1150"/>
                      </a:lnTo>
                      <a:lnTo>
                        <a:pt x="906" y="1104"/>
                      </a:lnTo>
                      <a:lnTo>
                        <a:pt x="856" y="1114"/>
                      </a:lnTo>
                      <a:lnTo>
                        <a:pt x="797" y="1152"/>
                      </a:lnTo>
                      <a:lnTo>
                        <a:pt x="749" y="1119"/>
                      </a:lnTo>
                      <a:lnTo>
                        <a:pt x="696" y="1142"/>
                      </a:lnTo>
                      <a:lnTo>
                        <a:pt x="636" y="1176"/>
                      </a:lnTo>
                      <a:lnTo>
                        <a:pt x="563" y="1097"/>
                      </a:lnTo>
                      <a:lnTo>
                        <a:pt x="536" y="1061"/>
                      </a:lnTo>
                      <a:lnTo>
                        <a:pt x="432" y="1062"/>
                      </a:lnTo>
                      <a:lnTo>
                        <a:pt x="385" y="1043"/>
                      </a:lnTo>
                      <a:lnTo>
                        <a:pt x="372" y="1066"/>
                      </a:lnTo>
                      <a:lnTo>
                        <a:pt x="362" y="1109"/>
                      </a:lnTo>
                      <a:lnTo>
                        <a:pt x="319" y="1100"/>
                      </a:lnTo>
                      <a:lnTo>
                        <a:pt x="283" y="1110"/>
                      </a:lnTo>
                      <a:lnTo>
                        <a:pt x="283" y="1133"/>
                      </a:lnTo>
                      <a:lnTo>
                        <a:pt x="233" y="1113"/>
                      </a:lnTo>
                      <a:lnTo>
                        <a:pt x="186" y="1127"/>
                      </a:lnTo>
                      <a:lnTo>
                        <a:pt x="112" y="1124"/>
                      </a:lnTo>
                      <a:lnTo>
                        <a:pt x="47" y="1181"/>
                      </a:lnTo>
                      <a:lnTo>
                        <a:pt x="17" y="1209"/>
                      </a:lnTo>
                      <a:lnTo>
                        <a:pt x="0" y="1226"/>
                      </a:lnTo>
                      <a:lnTo>
                        <a:pt x="4" y="1258"/>
                      </a:lnTo>
                      <a:lnTo>
                        <a:pt x="31" y="1271"/>
                      </a:lnTo>
                      <a:lnTo>
                        <a:pt x="60" y="1244"/>
                      </a:lnTo>
                      <a:lnTo>
                        <a:pt x="80" y="1261"/>
                      </a:lnTo>
                      <a:lnTo>
                        <a:pt x="117" y="1253"/>
                      </a:lnTo>
                      <a:lnTo>
                        <a:pt x="161" y="1300"/>
                      </a:lnTo>
                      <a:lnTo>
                        <a:pt x="131" y="1300"/>
                      </a:lnTo>
                      <a:lnTo>
                        <a:pt x="85" y="1287"/>
                      </a:lnTo>
                      <a:lnTo>
                        <a:pt x="65" y="1275"/>
                      </a:lnTo>
                      <a:lnTo>
                        <a:pt x="44" y="1291"/>
                      </a:lnTo>
                      <a:lnTo>
                        <a:pt x="51" y="1367"/>
                      </a:lnTo>
                      <a:lnTo>
                        <a:pt x="71" y="1340"/>
                      </a:lnTo>
                      <a:lnTo>
                        <a:pt x="105" y="1330"/>
                      </a:lnTo>
                      <a:lnTo>
                        <a:pt x="151" y="1363"/>
                      </a:lnTo>
                      <a:lnTo>
                        <a:pt x="131" y="1387"/>
                      </a:lnTo>
                      <a:lnTo>
                        <a:pt x="75" y="1387"/>
                      </a:lnTo>
                      <a:lnTo>
                        <a:pt x="26" y="1410"/>
                      </a:lnTo>
                      <a:lnTo>
                        <a:pt x="36" y="1427"/>
                      </a:lnTo>
                      <a:lnTo>
                        <a:pt x="96" y="1439"/>
                      </a:lnTo>
                      <a:lnTo>
                        <a:pt x="119" y="1453"/>
                      </a:lnTo>
                      <a:lnTo>
                        <a:pt x="133" y="1513"/>
                      </a:lnTo>
                      <a:lnTo>
                        <a:pt x="186" y="1505"/>
                      </a:lnTo>
                      <a:lnTo>
                        <a:pt x="246" y="1462"/>
                      </a:lnTo>
                      <a:lnTo>
                        <a:pt x="286" y="1475"/>
                      </a:lnTo>
                      <a:lnTo>
                        <a:pt x="313" y="1511"/>
                      </a:lnTo>
                      <a:lnTo>
                        <a:pt x="370" y="1521"/>
                      </a:lnTo>
                      <a:lnTo>
                        <a:pt x="417" y="1543"/>
                      </a:lnTo>
                      <a:lnTo>
                        <a:pt x="457" y="1540"/>
                      </a:lnTo>
                      <a:lnTo>
                        <a:pt x="524" y="1625"/>
                      </a:lnTo>
                      <a:lnTo>
                        <a:pt x="560" y="1622"/>
                      </a:lnTo>
                      <a:lnTo>
                        <a:pt x="587" y="1591"/>
                      </a:lnTo>
                      <a:lnTo>
                        <a:pt x="607" y="1631"/>
                      </a:lnTo>
                      <a:lnTo>
                        <a:pt x="617" y="1628"/>
                      </a:lnTo>
                      <a:lnTo>
                        <a:pt x="641" y="1601"/>
                      </a:lnTo>
                      <a:lnTo>
                        <a:pt x="694" y="1637"/>
                      </a:lnTo>
                      <a:lnTo>
                        <a:pt x="748" y="1657"/>
                      </a:lnTo>
                      <a:lnTo>
                        <a:pt x="697" y="1690"/>
                      </a:lnTo>
                      <a:lnTo>
                        <a:pt x="709" y="1737"/>
                      </a:lnTo>
                      <a:lnTo>
                        <a:pt x="784" y="1739"/>
                      </a:lnTo>
                      <a:lnTo>
                        <a:pt x="845" y="1722"/>
                      </a:lnTo>
                      <a:lnTo>
                        <a:pt x="898" y="1751"/>
                      </a:lnTo>
                      <a:lnTo>
                        <a:pt x="915" y="1785"/>
                      </a:lnTo>
                      <a:lnTo>
                        <a:pt x="888" y="1778"/>
                      </a:lnTo>
                      <a:lnTo>
                        <a:pt x="848" y="1765"/>
                      </a:lnTo>
                      <a:lnTo>
                        <a:pt x="809" y="1808"/>
                      </a:lnTo>
                      <a:lnTo>
                        <a:pt x="859" y="1828"/>
                      </a:lnTo>
                      <a:lnTo>
                        <a:pt x="820" y="1908"/>
                      </a:lnTo>
                      <a:lnTo>
                        <a:pt x="860" y="1944"/>
                      </a:lnTo>
                      <a:lnTo>
                        <a:pt x="918" y="2037"/>
                      </a:lnTo>
                      <a:lnTo>
                        <a:pt x="925" y="2063"/>
                      </a:lnTo>
                      <a:lnTo>
                        <a:pt x="1062" y="2165"/>
                      </a:lnTo>
                      <a:lnTo>
                        <a:pt x="1109" y="2168"/>
                      </a:lnTo>
                      <a:lnTo>
                        <a:pt x="1092" y="2200"/>
                      </a:lnTo>
                      <a:lnTo>
                        <a:pt x="1129" y="2220"/>
                      </a:lnTo>
                      <a:lnTo>
                        <a:pt x="1180" y="2290"/>
                      </a:lnTo>
                      <a:lnTo>
                        <a:pt x="1150" y="2306"/>
                      </a:lnTo>
                      <a:lnTo>
                        <a:pt x="1133" y="2343"/>
                      </a:lnTo>
                      <a:lnTo>
                        <a:pt x="1104" y="2370"/>
                      </a:lnTo>
                      <a:lnTo>
                        <a:pt x="1107" y="2403"/>
                      </a:lnTo>
                      <a:lnTo>
                        <a:pt x="1178" y="2446"/>
                      </a:lnTo>
                      <a:lnTo>
                        <a:pt x="1187" y="2489"/>
                      </a:lnTo>
                      <a:lnTo>
                        <a:pt x="1223" y="2541"/>
                      </a:lnTo>
                      <a:lnTo>
                        <a:pt x="1250" y="2627"/>
                      </a:lnTo>
                      <a:lnTo>
                        <a:pt x="1260" y="2687"/>
                      </a:lnTo>
                      <a:lnTo>
                        <a:pt x="1282" y="2716"/>
                      </a:lnTo>
                      <a:lnTo>
                        <a:pt x="1253" y="2694"/>
                      </a:lnTo>
                      <a:lnTo>
                        <a:pt x="1231" y="2635"/>
                      </a:lnTo>
                      <a:lnTo>
                        <a:pt x="1163" y="2549"/>
                      </a:lnTo>
                      <a:lnTo>
                        <a:pt x="1157" y="2498"/>
                      </a:lnTo>
                      <a:lnTo>
                        <a:pt x="1141" y="2498"/>
                      </a:lnTo>
                      <a:lnTo>
                        <a:pt x="1135" y="2519"/>
                      </a:lnTo>
                      <a:lnTo>
                        <a:pt x="1136" y="2585"/>
                      </a:lnTo>
                      <a:lnTo>
                        <a:pt x="1103" y="2837"/>
                      </a:lnTo>
                      <a:lnTo>
                        <a:pt x="1125" y="2843"/>
                      </a:lnTo>
                      <a:lnTo>
                        <a:pt x="1138" y="2874"/>
                      </a:lnTo>
                      <a:lnTo>
                        <a:pt x="1118" y="2899"/>
                      </a:lnTo>
                      <a:lnTo>
                        <a:pt x="1100" y="2852"/>
                      </a:lnTo>
                      <a:lnTo>
                        <a:pt x="1076" y="3007"/>
                      </a:lnTo>
                      <a:lnTo>
                        <a:pt x="1029" y="3231"/>
                      </a:lnTo>
                      <a:lnTo>
                        <a:pt x="982" y="3345"/>
                      </a:lnTo>
                      <a:lnTo>
                        <a:pt x="957" y="3371"/>
                      </a:lnTo>
                      <a:lnTo>
                        <a:pt x="957" y="3394"/>
                      </a:lnTo>
                      <a:lnTo>
                        <a:pt x="989" y="3394"/>
                      </a:lnTo>
                      <a:lnTo>
                        <a:pt x="1024" y="3436"/>
                      </a:lnTo>
                      <a:lnTo>
                        <a:pt x="1024" y="3473"/>
                      </a:lnTo>
                      <a:lnTo>
                        <a:pt x="1148" y="3498"/>
                      </a:lnTo>
                      <a:lnTo>
                        <a:pt x="1208" y="3551"/>
                      </a:lnTo>
                      <a:lnTo>
                        <a:pt x="1355" y="3573"/>
                      </a:lnTo>
                      <a:lnTo>
                        <a:pt x="1479" y="3634"/>
                      </a:lnTo>
                      <a:lnTo>
                        <a:pt x="1596" y="3640"/>
                      </a:lnTo>
                      <a:lnTo>
                        <a:pt x="1652" y="3643"/>
                      </a:lnTo>
                      <a:lnTo>
                        <a:pt x="1695" y="3593"/>
                      </a:lnTo>
                      <a:lnTo>
                        <a:pt x="1792" y="3599"/>
                      </a:lnTo>
                      <a:lnTo>
                        <a:pt x="1889" y="3668"/>
                      </a:lnTo>
                      <a:lnTo>
                        <a:pt x="1952" y="3650"/>
                      </a:lnTo>
                      <a:lnTo>
                        <a:pt x="1999" y="3687"/>
                      </a:lnTo>
                      <a:lnTo>
                        <a:pt x="1999" y="3732"/>
                      </a:lnTo>
                      <a:lnTo>
                        <a:pt x="2069" y="3739"/>
                      </a:lnTo>
                      <a:lnTo>
                        <a:pt x="2136" y="3768"/>
                      </a:lnTo>
                      <a:lnTo>
                        <a:pt x="2199" y="3774"/>
                      </a:lnTo>
                      <a:lnTo>
                        <a:pt x="2276" y="3733"/>
                      </a:lnTo>
                      <a:lnTo>
                        <a:pt x="2359" y="3729"/>
                      </a:lnTo>
                      <a:lnTo>
                        <a:pt x="2377" y="3707"/>
                      </a:lnTo>
                      <a:lnTo>
                        <a:pt x="2362" y="3663"/>
                      </a:lnTo>
                      <a:lnTo>
                        <a:pt x="2374" y="3613"/>
                      </a:lnTo>
                      <a:lnTo>
                        <a:pt x="2364" y="3570"/>
                      </a:lnTo>
                      <a:lnTo>
                        <a:pt x="2361" y="3603"/>
                      </a:lnTo>
                      <a:lnTo>
                        <a:pt x="2334" y="3588"/>
                      </a:lnTo>
                      <a:lnTo>
                        <a:pt x="2361" y="3551"/>
                      </a:lnTo>
                      <a:lnTo>
                        <a:pt x="2387" y="3444"/>
                      </a:lnTo>
                      <a:lnTo>
                        <a:pt x="2503" y="3403"/>
                      </a:lnTo>
                      <a:lnTo>
                        <a:pt x="2559" y="3369"/>
                      </a:lnTo>
                      <a:lnTo>
                        <a:pt x="2615" y="3316"/>
                      </a:lnTo>
                      <a:lnTo>
                        <a:pt x="2672" y="3299"/>
                      </a:lnTo>
                      <a:lnTo>
                        <a:pt x="2749" y="3338"/>
                      </a:lnTo>
                      <a:lnTo>
                        <a:pt x="2816" y="3350"/>
                      </a:lnTo>
                      <a:lnTo>
                        <a:pt x="2866" y="3393"/>
                      </a:lnTo>
                      <a:lnTo>
                        <a:pt x="2939" y="3346"/>
                      </a:lnTo>
                      <a:lnTo>
                        <a:pt x="3056" y="3395"/>
                      </a:lnTo>
                      <a:lnTo>
                        <a:pt x="3080" y="3434"/>
                      </a:lnTo>
                      <a:lnTo>
                        <a:pt x="3220" y="3493"/>
                      </a:lnTo>
                      <a:lnTo>
                        <a:pt x="3354" y="3488"/>
                      </a:lnTo>
                      <a:lnTo>
                        <a:pt x="3450" y="3447"/>
                      </a:lnTo>
                      <a:lnTo>
                        <a:pt x="3519" y="3340"/>
                      </a:lnTo>
                      <a:lnTo>
                        <a:pt x="3596" y="3300"/>
                      </a:lnTo>
                      <a:lnTo>
                        <a:pt x="3676" y="3243"/>
                      </a:lnTo>
                      <a:lnTo>
                        <a:pt x="3676" y="3243"/>
                      </a:lnTo>
                      <a:lnTo>
                        <a:pt x="3669" y="3245"/>
                      </a:lnTo>
                      <a:lnTo>
                        <a:pt x="3667" y="3244"/>
                      </a:lnTo>
                      <a:lnTo>
                        <a:pt x="3666" y="3244"/>
                      </a:lnTo>
                      <a:lnTo>
                        <a:pt x="3666" y="3244"/>
                      </a:lnTo>
                      <a:lnTo>
                        <a:pt x="3668" y="3235"/>
                      </a:lnTo>
                      <a:lnTo>
                        <a:pt x="3668" y="3235"/>
                      </a:lnTo>
                      <a:lnTo>
                        <a:pt x="3669" y="3232"/>
                      </a:lnTo>
                      <a:lnTo>
                        <a:pt x="3671" y="3230"/>
                      </a:lnTo>
                      <a:lnTo>
                        <a:pt x="3675" y="3228"/>
                      </a:lnTo>
                      <a:lnTo>
                        <a:pt x="3678" y="3227"/>
                      </a:lnTo>
                      <a:lnTo>
                        <a:pt x="3678" y="3227"/>
                      </a:lnTo>
                      <a:lnTo>
                        <a:pt x="3683" y="3227"/>
                      </a:lnTo>
                      <a:lnTo>
                        <a:pt x="3687" y="3225"/>
                      </a:lnTo>
                      <a:lnTo>
                        <a:pt x="3697" y="3227"/>
                      </a:lnTo>
                      <a:lnTo>
                        <a:pt x="3697" y="3227"/>
                      </a:lnTo>
                      <a:lnTo>
                        <a:pt x="3696" y="3230"/>
                      </a:lnTo>
                      <a:lnTo>
                        <a:pt x="3701" y="3227"/>
                      </a:lnTo>
                      <a:lnTo>
                        <a:pt x="3737" y="3215"/>
                      </a:lnTo>
                      <a:lnTo>
                        <a:pt x="3748" y="3192"/>
                      </a:lnTo>
                      <a:lnTo>
                        <a:pt x="3778" y="3182"/>
                      </a:lnTo>
                      <a:lnTo>
                        <a:pt x="3792" y="3200"/>
                      </a:lnTo>
                      <a:lnTo>
                        <a:pt x="3808" y="3195"/>
                      </a:lnTo>
                      <a:lnTo>
                        <a:pt x="3787" y="3152"/>
                      </a:lnTo>
                      <a:lnTo>
                        <a:pt x="3814" y="3125"/>
                      </a:lnTo>
                      <a:lnTo>
                        <a:pt x="3810" y="3100"/>
                      </a:lnTo>
                      <a:lnTo>
                        <a:pt x="3779" y="3089"/>
                      </a:lnTo>
                      <a:lnTo>
                        <a:pt x="3753" y="3024"/>
                      </a:lnTo>
                      <a:lnTo>
                        <a:pt x="3679" y="3010"/>
                      </a:lnTo>
                      <a:lnTo>
                        <a:pt x="3576" y="2968"/>
                      </a:lnTo>
                      <a:lnTo>
                        <a:pt x="3595" y="2869"/>
                      </a:lnTo>
                      <a:lnTo>
                        <a:pt x="3603" y="2799"/>
                      </a:lnTo>
                      <a:lnTo>
                        <a:pt x="3587" y="2766"/>
                      </a:lnTo>
                      <a:lnTo>
                        <a:pt x="3523" y="2696"/>
                      </a:lnTo>
                      <a:lnTo>
                        <a:pt x="3556" y="2627"/>
                      </a:lnTo>
                      <a:lnTo>
                        <a:pt x="3631" y="2534"/>
                      </a:lnTo>
                      <a:lnTo>
                        <a:pt x="3600" y="2421"/>
                      </a:lnTo>
                      <a:lnTo>
                        <a:pt x="3573" y="2357"/>
                      </a:lnTo>
                      <a:lnTo>
                        <a:pt x="3599" y="2287"/>
                      </a:lnTo>
                      <a:lnTo>
                        <a:pt x="3524" y="2122"/>
                      </a:lnTo>
                      <a:lnTo>
                        <a:pt x="3521" y="2119"/>
                      </a:lnTo>
                      <a:lnTo>
                        <a:pt x="3514" y="2125"/>
                      </a:lnTo>
                      <a:lnTo>
                        <a:pt x="3442" y="2101"/>
                      </a:lnTo>
                      <a:lnTo>
                        <a:pt x="3383" y="2132"/>
                      </a:lnTo>
                      <a:lnTo>
                        <a:pt x="3347" y="2134"/>
                      </a:lnTo>
                      <a:lnTo>
                        <a:pt x="3301" y="2204"/>
                      </a:lnTo>
                      <a:lnTo>
                        <a:pt x="3281" y="2208"/>
                      </a:lnTo>
                      <a:lnTo>
                        <a:pt x="3285" y="2098"/>
                      </a:lnTo>
                      <a:lnTo>
                        <a:pt x="3327" y="2041"/>
                      </a:lnTo>
                      <a:lnTo>
                        <a:pt x="3333" y="1982"/>
                      </a:lnTo>
                      <a:lnTo>
                        <a:pt x="3406" y="1898"/>
                      </a:lnTo>
                      <a:lnTo>
                        <a:pt x="3415" y="1852"/>
                      </a:lnTo>
                      <a:lnTo>
                        <a:pt x="3469" y="1815"/>
                      </a:lnTo>
                      <a:lnTo>
                        <a:pt x="3484" y="1765"/>
                      </a:lnTo>
                      <a:lnTo>
                        <a:pt x="3593" y="1697"/>
                      </a:lnTo>
                      <a:lnTo>
                        <a:pt x="3570" y="1661"/>
                      </a:lnTo>
                      <a:lnTo>
                        <a:pt x="3573" y="1601"/>
                      </a:lnTo>
                      <a:lnTo>
                        <a:pt x="3622" y="1598"/>
                      </a:lnTo>
                      <a:lnTo>
                        <a:pt x="3657" y="1617"/>
                      </a:lnTo>
                      <a:lnTo>
                        <a:pt x="3703" y="1570"/>
                      </a:lnTo>
                      <a:lnTo>
                        <a:pt x="3688" y="1457"/>
                      </a:lnTo>
                      <a:lnTo>
                        <a:pt x="3756" y="1265"/>
                      </a:lnTo>
                      <a:lnTo>
                        <a:pt x="3785" y="109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137" name="Freeform 263">
                  <a:extLst>
                    <a:ext uri="{FF2B5EF4-FFF2-40B4-BE49-F238E27FC236}">
                      <a16:creationId xmlns:a16="http://schemas.microsoft.com/office/drawing/2014/main" id="{55FEC207-38AE-44C1-8A93-570A069E3A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7950" y="4902200"/>
                  <a:ext cx="19050" cy="20638"/>
                </a:xfrm>
                <a:custGeom>
                  <a:avLst/>
                  <a:gdLst>
                    <a:gd name="T0" fmla="*/ 63 w 63"/>
                    <a:gd name="T1" fmla="*/ 39 h 65"/>
                    <a:gd name="T2" fmla="*/ 37 w 63"/>
                    <a:gd name="T3" fmla="*/ 0 h 65"/>
                    <a:gd name="T4" fmla="*/ 0 w 63"/>
                    <a:gd name="T5" fmla="*/ 3 h 65"/>
                    <a:gd name="T6" fmla="*/ 51 w 63"/>
                    <a:gd name="T7" fmla="*/ 65 h 65"/>
                    <a:gd name="T8" fmla="*/ 63 w 63"/>
                    <a:gd name="T9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5">
                      <a:moveTo>
                        <a:pt x="63" y="39"/>
                      </a:moveTo>
                      <a:lnTo>
                        <a:pt x="37" y="0"/>
                      </a:lnTo>
                      <a:lnTo>
                        <a:pt x="0" y="3"/>
                      </a:lnTo>
                      <a:lnTo>
                        <a:pt x="51" y="65"/>
                      </a:lnTo>
                      <a:lnTo>
                        <a:pt x="63" y="39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</p:grpSp>
          <p:sp>
            <p:nvSpPr>
              <p:cNvPr id="134" name="Freeform 264">
                <a:extLst>
                  <a:ext uri="{FF2B5EF4-FFF2-40B4-BE49-F238E27FC236}">
                    <a16:creationId xmlns:a16="http://schemas.microsoft.com/office/drawing/2014/main" id="{6024487F-8D4D-4FED-A34D-9DF5FA7F8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4100" y="5294313"/>
                <a:ext cx="93663" cy="219075"/>
              </a:xfrm>
              <a:custGeom>
                <a:avLst/>
                <a:gdLst>
                  <a:gd name="T0" fmla="*/ 252 w 293"/>
                  <a:gd name="T1" fmla="*/ 176 h 691"/>
                  <a:gd name="T2" fmla="*/ 262 w 293"/>
                  <a:gd name="T3" fmla="*/ 129 h 691"/>
                  <a:gd name="T4" fmla="*/ 256 w 293"/>
                  <a:gd name="T5" fmla="*/ 0 h 691"/>
                  <a:gd name="T6" fmla="*/ 224 w 293"/>
                  <a:gd name="T7" fmla="*/ 10 h 691"/>
                  <a:gd name="T8" fmla="*/ 200 w 293"/>
                  <a:gd name="T9" fmla="*/ 74 h 691"/>
                  <a:gd name="T10" fmla="*/ 212 w 293"/>
                  <a:gd name="T11" fmla="*/ 124 h 691"/>
                  <a:gd name="T12" fmla="*/ 188 w 293"/>
                  <a:gd name="T13" fmla="*/ 147 h 691"/>
                  <a:gd name="T14" fmla="*/ 148 w 293"/>
                  <a:gd name="T15" fmla="*/ 127 h 691"/>
                  <a:gd name="T16" fmla="*/ 105 w 293"/>
                  <a:gd name="T17" fmla="*/ 161 h 691"/>
                  <a:gd name="T18" fmla="*/ 92 w 293"/>
                  <a:gd name="T19" fmla="*/ 197 h 691"/>
                  <a:gd name="T20" fmla="*/ 29 w 293"/>
                  <a:gd name="T21" fmla="*/ 231 h 691"/>
                  <a:gd name="T22" fmla="*/ 33 w 293"/>
                  <a:gd name="T23" fmla="*/ 301 h 691"/>
                  <a:gd name="T24" fmla="*/ 3 w 293"/>
                  <a:gd name="T25" fmla="*/ 308 h 691"/>
                  <a:gd name="T26" fmla="*/ 0 w 293"/>
                  <a:gd name="T27" fmla="*/ 348 h 691"/>
                  <a:gd name="T28" fmla="*/ 20 w 293"/>
                  <a:gd name="T29" fmla="*/ 390 h 691"/>
                  <a:gd name="T30" fmla="*/ 34 w 293"/>
                  <a:gd name="T31" fmla="*/ 424 h 691"/>
                  <a:gd name="T32" fmla="*/ 34 w 293"/>
                  <a:gd name="T33" fmla="*/ 470 h 691"/>
                  <a:gd name="T34" fmla="*/ 44 w 293"/>
                  <a:gd name="T35" fmla="*/ 480 h 691"/>
                  <a:gd name="T36" fmla="*/ 41 w 293"/>
                  <a:gd name="T37" fmla="*/ 509 h 691"/>
                  <a:gd name="T38" fmla="*/ 28 w 293"/>
                  <a:gd name="T39" fmla="*/ 529 h 691"/>
                  <a:gd name="T40" fmla="*/ 64 w 293"/>
                  <a:gd name="T41" fmla="*/ 546 h 691"/>
                  <a:gd name="T42" fmla="*/ 86 w 293"/>
                  <a:gd name="T43" fmla="*/ 556 h 691"/>
                  <a:gd name="T44" fmla="*/ 62 w 293"/>
                  <a:gd name="T45" fmla="*/ 613 h 691"/>
                  <a:gd name="T46" fmla="*/ 96 w 293"/>
                  <a:gd name="T47" fmla="*/ 639 h 691"/>
                  <a:gd name="T48" fmla="*/ 126 w 293"/>
                  <a:gd name="T49" fmla="*/ 652 h 691"/>
                  <a:gd name="T50" fmla="*/ 129 w 293"/>
                  <a:gd name="T51" fmla="*/ 669 h 691"/>
                  <a:gd name="T52" fmla="*/ 153 w 293"/>
                  <a:gd name="T53" fmla="*/ 675 h 691"/>
                  <a:gd name="T54" fmla="*/ 179 w 293"/>
                  <a:gd name="T55" fmla="*/ 691 h 691"/>
                  <a:gd name="T56" fmla="*/ 183 w 293"/>
                  <a:gd name="T57" fmla="*/ 671 h 691"/>
                  <a:gd name="T58" fmla="*/ 209 w 293"/>
                  <a:gd name="T59" fmla="*/ 611 h 691"/>
                  <a:gd name="T60" fmla="*/ 238 w 293"/>
                  <a:gd name="T61" fmla="*/ 538 h 691"/>
                  <a:gd name="T62" fmla="*/ 248 w 293"/>
                  <a:gd name="T63" fmla="*/ 492 h 691"/>
                  <a:gd name="T64" fmla="*/ 284 w 293"/>
                  <a:gd name="T65" fmla="*/ 401 h 691"/>
                  <a:gd name="T66" fmla="*/ 293 w 293"/>
                  <a:gd name="T67" fmla="*/ 262 h 691"/>
                  <a:gd name="T68" fmla="*/ 252 w 293"/>
                  <a:gd name="T69" fmla="*/ 176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3" h="691">
                    <a:moveTo>
                      <a:pt x="252" y="176"/>
                    </a:moveTo>
                    <a:lnTo>
                      <a:pt x="262" y="129"/>
                    </a:lnTo>
                    <a:lnTo>
                      <a:pt x="256" y="0"/>
                    </a:lnTo>
                    <a:lnTo>
                      <a:pt x="224" y="10"/>
                    </a:lnTo>
                    <a:lnTo>
                      <a:pt x="200" y="74"/>
                    </a:lnTo>
                    <a:lnTo>
                      <a:pt x="212" y="124"/>
                    </a:lnTo>
                    <a:lnTo>
                      <a:pt x="188" y="147"/>
                    </a:lnTo>
                    <a:lnTo>
                      <a:pt x="148" y="127"/>
                    </a:lnTo>
                    <a:lnTo>
                      <a:pt x="105" y="161"/>
                    </a:lnTo>
                    <a:lnTo>
                      <a:pt x="92" y="197"/>
                    </a:lnTo>
                    <a:lnTo>
                      <a:pt x="29" y="231"/>
                    </a:lnTo>
                    <a:lnTo>
                      <a:pt x="33" y="301"/>
                    </a:lnTo>
                    <a:lnTo>
                      <a:pt x="3" y="308"/>
                    </a:lnTo>
                    <a:lnTo>
                      <a:pt x="0" y="348"/>
                    </a:lnTo>
                    <a:lnTo>
                      <a:pt x="20" y="390"/>
                    </a:lnTo>
                    <a:lnTo>
                      <a:pt x="34" y="424"/>
                    </a:lnTo>
                    <a:lnTo>
                      <a:pt x="34" y="470"/>
                    </a:lnTo>
                    <a:lnTo>
                      <a:pt x="44" y="480"/>
                    </a:lnTo>
                    <a:lnTo>
                      <a:pt x="41" y="509"/>
                    </a:lnTo>
                    <a:lnTo>
                      <a:pt x="28" y="529"/>
                    </a:lnTo>
                    <a:lnTo>
                      <a:pt x="64" y="546"/>
                    </a:lnTo>
                    <a:lnTo>
                      <a:pt x="86" y="556"/>
                    </a:lnTo>
                    <a:lnTo>
                      <a:pt x="62" y="613"/>
                    </a:lnTo>
                    <a:lnTo>
                      <a:pt x="96" y="639"/>
                    </a:lnTo>
                    <a:lnTo>
                      <a:pt x="126" y="652"/>
                    </a:lnTo>
                    <a:lnTo>
                      <a:pt x="129" y="669"/>
                    </a:lnTo>
                    <a:lnTo>
                      <a:pt x="153" y="675"/>
                    </a:lnTo>
                    <a:lnTo>
                      <a:pt x="179" y="691"/>
                    </a:lnTo>
                    <a:lnTo>
                      <a:pt x="183" y="671"/>
                    </a:lnTo>
                    <a:lnTo>
                      <a:pt x="209" y="611"/>
                    </a:lnTo>
                    <a:lnTo>
                      <a:pt x="238" y="538"/>
                    </a:lnTo>
                    <a:lnTo>
                      <a:pt x="248" y="492"/>
                    </a:lnTo>
                    <a:lnTo>
                      <a:pt x="284" y="401"/>
                    </a:lnTo>
                    <a:lnTo>
                      <a:pt x="293" y="262"/>
                    </a:lnTo>
                    <a:lnTo>
                      <a:pt x="252" y="176"/>
                    </a:lnTo>
                    <a:close/>
                  </a:path>
                </a:pathLst>
              </a:custGeom>
              <a:solidFill>
                <a:srgbClr val="1D2631">
                  <a:lumMod val="75000"/>
                  <a:lumOff val="25000"/>
                </a:srgbClr>
              </a:solidFill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375AD07-D63E-45E6-90F8-F17C41948FE9}"/>
                </a:ext>
              </a:extLst>
            </p:cNvPr>
            <p:cNvGrpSpPr/>
            <p:nvPr/>
          </p:nvGrpSpPr>
          <p:grpSpPr>
            <a:xfrm>
              <a:off x="4067175" y="4811713"/>
              <a:ext cx="555625" cy="565150"/>
              <a:chOff x="4067175" y="4811713"/>
              <a:chExt cx="555625" cy="565150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116" name="Freeform 265">
                <a:extLst>
                  <a:ext uri="{FF2B5EF4-FFF2-40B4-BE49-F238E27FC236}">
                    <a16:creationId xmlns:a16="http://schemas.microsoft.com/office/drawing/2014/main" id="{0E4F7F58-E9BD-4C44-9A99-4C08EA1A84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7025" y="5010150"/>
                <a:ext cx="26988" cy="66675"/>
              </a:xfrm>
              <a:custGeom>
                <a:avLst/>
                <a:gdLst>
                  <a:gd name="T0" fmla="*/ 68 w 85"/>
                  <a:gd name="T1" fmla="*/ 99 h 211"/>
                  <a:gd name="T2" fmla="*/ 85 w 85"/>
                  <a:gd name="T3" fmla="*/ 211 h 211"/>
                  <a:gd name="T4" fmla="*/ 65 w 85"/>
                  <a:gd name="T5" fmla="*/ 209 h 211"/>
                  <a:gd name="T6" fmla="*/ 51 w 85"/>
                  <a:gd name="T7" fmla="*/ 191 h 211"/>
                  <a:gd name="T8" fmla="*/ 21 w 85"/>
                  <a:gd name="T9" fmla="*/ 161 h 211"/>
                  <a:gd name="T10" fmla="*/ 10 w 85"/>
                  <a:gd name="T11" fmla="*/ 125 h 211"/>
                  <a:gd name="T12" fmla="*/ 17 w 85"/>
                  <a:gd name="T13" fmla="*/ 105 h 211"/>
                  <a:gd name="T14" fmla="*/ 35 w 85"/>
                  <a:gd name="T15" fmla="*/ 119 h 211"/>
                  <a:gd name="T16" fmla="*/ 39 w 85"/>
                  <a:gd name="T17" fmla="*/ 105 h 211"/>
                  <a:gd name="T18" fmla="*/ 39 w 85"/>
                  <a:gd name="T19" fmla="*/ 76 h 211"/>
                  <a:gd name="T20" fmla="*/ 0 w 85"/>
                  <a:gd name="T21" fmla="*/ 31 h 211"/>
                  <a:gd name="T22" fmla="*/ 4 w 85"/>
                  <a:gd name="T23" fmla="*/ 0 h 211"/>
                  <a:gd name="T24" fmla="*/ 29 w 85"/>
                  <a:gd name="T25" fmla="*/ 3 h 211"/>
                  <a:gd name="T26" fmla="*/ 33 w 85"/>
                  <a:gd name="T27" fmla="*/ 45 h 211"/>
                  <a:gd name="T28" fmla="*/ 48 w 85"/>
                  <a:gd name="T29" fmla="*/ 63 h 211"/>
                  <a:gd name="T30" fmla="*/ 68 w 85"/>
                  <a:gd name="T31" fmla="*/ 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" h="211">
                    <a:moveTo>
                      <a:pt x="68" y="99"/>
                    </a:moveTo>
                    <a:lnTo>
                      <a:pt x="85" y="211"/>
                    </a:lnTo>
                    <a:lnTo>
                      <a:pt x="65" y="209"/>
                    </a:lnTo>
                    <a:lnTo>
                      <a:pt x="51" y="191"/>
                    </a:lnTo>
                    <a:lnTo>
                      <a:pt x="21" y="161"/>
                    </a:lnTo>
                    <a:lnTo>
                      <a:pt x="10" y="125"/>
                    </a:lnTo>
                    <a:lnTo>
                      <a:pt x="17" y="105"/>
                    </a:lnTo>
                    <a:lnTo>
                      <a:pt x="35" y="119"/>
                    </a:lnTo>
                    <a:lnTo>
                      <a:pt x="39" y="105"/>
                    </a:lnTo>
                    <a:lnTo>
                      <a:pt x="39" y="76"/>
                    </a:lnTo>
                    <a:lnTo>
                      <a:pt x="0" y="31"/>
                    </a:lnTo>
                    <a:lnTo>
                      <a:pt x="4" y="0"/>
                    </a:lnTo>
                    <a:lnTo>
                      <a:pt x="29" y="3"/>
                    </a:lnTo>
                    <a:lnTo>
                      <a:pt x="33" y="45"/>
                    </a:lnTo>
                    <a:lnTo>
                      <a:pt x="48" y="63"/>
                    </a:lnTo>
                    <a:lnTo>
                      <a:pt x="68" y="9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7" name="Freeform 266">
                <a:extLst>
                  <a:ext uri="{FF2B5EF4-FFF2-40B4-BE49-F238E27FC236}">
                    <a16:creationId xmlns:a16="http://schemas.microsoft.com/office/drawing/2014/main" id="{708EDE30-1559-4A04-B55B-037AAD67C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1788" y="5073650"/>
                <a:ext cx="20638" cy="28575"/>
              </a:xfrm>
              <a:custGeom>
                <a:avLst/>
                <a:gdLst>
                  <a:gd name="T0" fmla="*/ 18 w 67"/>
                  <a:gd name="T1" fmla="*/ 0 h 93"/>
                  <a:gd name="T2" fmla="*/ 0 w 67"/>
                  <a:gd name="T3" fmla="*/ 7 h 93"/>
                  <a:gd name="T4" fmla="*/ 5 w 67"/>
                  <a:gd name="T5" fmla="*/ 34 h 93"/>
                  <a:gd name="T6" fmla="*/ 25 w 67"/>
                  <a:gd name="T7" fmla="*/ 60 h 93"/>
                  <a:gd name="T8" fmla="*/ 45 w 67"/>
                  <a:gd name="T9" fmla="*/ 69 h 93"/>
                  <a:gd name="T10" fmla="*/ 54 w 67"/>
                  <a:gd name="T11" fmla="*/ 93 h 93"/>
                  <a:gd name="T12" fmla="*/ 67 w 67"/>
                  <a:gd name="T13" fmla="*/ 90 h 93"/>
                  <a:gd name="T14" fmla="*/ 65 w 67"/>
                  <a:gd name="T15" fmla="*/ 54 h 93"/>
                  <a:gd name="T16" fmla="*/ 18 w 67"/>
                  <a:gd name="T1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93">
                    <a:moveTo>
                      <a:pt x="18" y="0"/>
                    </a:moveTo>
                    <a:lnTo>
                      <a:pt x="0" y="7"/>
                    </a:lnTo>
                    <a:lnTo>
                      <a:pt x="5" y="34"/>
                    </a:lnTo>
                    <a:lnTo>
                      <a:pt x="25" y="60"/>
                    </a:lnTo>
                    <a:lnTo>
                      <a:pt x="45" y="69"/>
                    </a:lnTo>
                    <a:lnTo>
                      <a:pt x="54" y="93"/>
                    </a:lnTo>
                    <a:lnTo>
                      <a:pt x="67" y="90"/>
                    </a:lnTo>
                    <a:lnTo>
                      <a:pt x="65" y="54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8" name="Freeform 267">
                <a:extLst>
                  <a:ext uri="{FF2B5EF4-FFF2-40B4-BE49-F238E27FC236}">
                    <a16:creationId xmlns:a16="http://schemas.microsoft.com/office/drawing/2014/main" id="{41354733-9F6B-45A2-947A-184E78549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125" y="5118100"/>
                <a:ext cx="38100" cy="38100"/>
              </a:xfrm>
              <a:custGeom>
                <a:avLst/>
                <a:gdLst>
                  <a:gd name="T0" fmla="*/ 0 w 121"/>
                  <a:gd name="T1" fmla="*/ 0 h 123"/>
                  <a:gd name="T2" fmla="*/ 27 w 121"/>
                  <a:gd name="T3" fmla="*/ 44 h 123"/>
                  <a:gd name="T4" fmla="*/ 65 w 121"/>
                  <a:gd name="T5" fmla="*/ 91 h 123"/>
                  <a:gd name="T6" fmla="*/ 121 w 121"/>
                  <a:gd name="T7" fmla="*/ 123 h 123"/>
                  <a:gd name="T8" fmla="*/ 76 w 121"/>
                  <a:gd name="T9" fmla="*/ 75 h 123"/>
                  <a:gd name="T10" fmla="*/ 0 w 121"/>
                  <a:gd name="T11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1" h="123">
                    <a:moveTo>
                      <a:pt x="0" y="0"/>
                    </a:moveTo>
                    <a:lnTo>
                      <a:pt x="27" y="44"/>
                    </a:lnTo>
                    <a:lnTo>
                      <a:pt x="65" y="91"/>
                    </a:lnTo>
                    <a:lnTo>
                      <a:pt x="121" y="123"/>
                    </a:lnTo>
                    <a:lnTo>
                      <a:pt x="76" y="7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9" name="Freeform 268">
                <a:extLst>
                  <a:ext uri="{FF2B5EF4-FFF2-40B4-BE49-F238E27FC236}">
                    <a16:creationId xmlns:a16="http://schemas.microsoft.com/office/drawing/2014/main" id="{66352FBC-C62E-4B2D-9749-FB20EEF25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5075238"/>
                <a:ext cx="42863" cy="38100"/>
              </a:xfrm>
              <a:custGeom>
                <a:avLst/>
                <a:gdLst>
                  <a:gd name="T0" fmla="*/ 80 w 133"/>
                  <a:gd name="T1" fmla="*/ 41 h 120"/>
                  <a:gd name="T2" fmla="*/ 14 w 133"/>
                  <a:gd name="T3" fmla="*/ 0 h 120"/>
                  <a:gd name="T4" fmla="*/ 0 w 133"/>
                  <a:gd name="T5" fmla="*/ 2 h 120"/>
                  <a:gd name="T6" fmla="*/ 10 w 133"/>
                  <a:gd name="T7" fmla="*/ 27 h 120"/>
                  <a:gd name="T8" fmla="*/ 37 w 133"/>
                  <a:gd name="T9" fmla="*/ 63 h 120"/>
                  <a:gd name="T10" fmla="*/ 75 w 133"/>
                  <a:gd name="T11" fmla="*/ 101 h 120"/>
                  <a:gd name="T12" fmla="*/ 71 w 133"/>
                  <a:gd name="T13" fmla="*/ 75 h 120"/>
                  <a:gd name="T14" fmla="*/ 129 w 133"/>
                  <a:gd name="T15" fmla="*/ 120 h 120"/>
                  <a:gd name="T16" fmla="*/ 133 w 133"/>
                  <a:gd name="T17" fmla="*/ 109 h 120"/>
                  <a:gd name="T18" fmla="*/ 106 w 133"/>
                  <a:gd name="T19" fmla="*/ 88 h 120"/>
                  <a:gd name="T20" fmla="*/ 66 w 133"/>
                  <a:gd name="T21" fmla="*/ 52 h 120"/>
                  <a:gd name="T22" fmla="*/ 86 w 133"/>
                  <a:gd name="T23" fmla="*/ 57 h 120"/>
                  <a:gd name="T24" fmla="*/ 80 w 133"/>
                  <a:gd name="T25" fmla="*/ 4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3" h="120">
                    <a:moveTo>
                      <a:pt x="80" y="41"/>
                    </a:moveTo>
                    <a:lnTo>
                      <a:pt x="14" y="0"/>
                    </a:lnTo>
                    <a:lnTo>
                      <a:pt x="0" y="2"/>
                    </a:lnTo>
                    <a:lnTo>
                      <a:pt x="10" y="27"/>
                    </a:lnTo>
                    <a:lnTo>
                      <a:pt x="37" y="63"/>
                    </a:lnTo>
                    <a:lnTo>
                      <a:pt x="75" y="101"/>
                    </a:lnTo>
                    <a:lnTo>
                      <a:pt x="71" y="75"/>
                    </a:lnTo>
                    <a:lnTo>
                      <a:pt x="129" y="120"/>
                    </a:lnTo>
                    <a:lnTo>
                      <a:pt x="133" y="109"/>
                    </a:lnTo>
                    <a:lnTo>
                      <a:pt x="106" y="88"/>
                    </a:lnTo>
                    <a:lnTo>
                      <a:pt x="66" y="52"/>
                    </a:lnTo>
                    <a:lnTo>
                      <a:pt x="86" y="57"/>
                    </a:lnTo>
                    <a:lnTo>
                      <a:pt x="80" y="4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0" name="Freeform 269">
                <a:extLst>
                  <a:ext uri="{FF2B5EF4-FFF2-40B4-BE49-F238E27FC236}">
                    <a16:creationId xmlns:a16="http://schemas.microsoft.com/office/drawing/2014/main" id="{C50F4F67-52D6-4888-9F31-E277071DEF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3700" y="5111750"/>
                <a:ext cx="14288" cy="11113"/>
              </a:xfrm>
              <a:custGeom>
                <a:avLst/>
                <a:gdLst>
                  <a:gd name="T0" fmla="*/ 29 w 42"/>
                  <a:gd name="T1" fmla="*/ 33 h 33"/>
                  <a:gd name="T2" fmla="*/ 42 w 42"/>
                  <a:gd name="T3" fmla="*/ 19 h 33"/>
                  <a:gd name="T4" fmla="*/ 0 w 42"/>
                  <a:gd name="T5" fmla="*/ 0 h 33"/>
                  <a:gd name="T6" fmla="*/ 29 w 42"/>
                  <a:gd name="T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33">
                    <a:moveTo>
                      <a:pt x="29" y="33"/>
                    </a:moveTo>
                    <a:lnTo>
                      <a:pt x="42" y="19"/>
                    </a:lnTo>
                    <a:lnTo>
                      <a:pt x="0" y="0"/>
                    </a:lnTo>
                    <a:lnTo>
                      <a:pt x="29" y="3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1" name="Freeform 270">
                <a:extLst>
                  <a:ext uri="{FF2B5EF4-FFF2-40B4-BE49-F238E27FC236}">
                    <a16:creationId xmlns:a16="http://schemas.microsoft.com/office/drawing/2014/main" id="{8EA757B3-78B8-4623-8BAD-C01B8EA4A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075" y="5003800"/>
                <a:ext cx="44450" cy="57150"/>
              </a:xfrm>
              <a:custGeom>
                <a:avLst/>
                <a:gdLst>
                  <a:gd name="T0" fmla="*/ 73 w 140"/>
                  <a:gd name="T1" fmla="*/ 135 h 180"/>
                  <a:gd name="T2" fmla="*/ 111 w 140"/>
                  <a:gd name="T3" fmla="*/ 156 h 180"/>
                  <a:gd name="T4" fmla="*/ 131 w 140"/>
                  <a:gd name="T5" fmla="*/ 165 h 180"/>
                  <a:gd name="T6" fmla="*/ 140 w 140"/>
                  <a:gd name="T7" fmla="*/ 180 h 180"/>
                  <a:gd name="T8" fmla="*/ 117 w 140"/>
                  <a:gd name="T9" fmla="*/ 132 h 180"/>
                  <a:gd name="T10" fmla="*/ 92 w 140"/>
                  <a:gd name="T11" fmla="*/ 103 h 180"/>
                  <a:gd name="T12" fmla="*/ 105 w 140"/>
                  <a:gd name="T13" fmla="*/ 83 h 180"/>
                  <a:gd name="T14" fmla="*/ 90 w 140"/>
                  <a:gd name="T15" fmla="*/ 70 h 180"/>
                  <a:gd name="T16" fmla="*/ 43 w 140"/>
                  <a:gd name="T17" fmla="*/ 0 h 180"/>
                  <a:gd name="T18" fmla="*/ 25 w 140"/>
                  <a:gd name="T19" fmla="*/ 0 h 180"/>
                  <a:gd name="T20" fmla="*/ 25 w 140"/>
                  <a:gd name="T21" fmla="*/ 27 h 180"/>
                  <a:gd name="T22" fmla="*/ 0 w 140"/>
                  <a:gd name="T23" fmla="*/ 29 h 180"/>
                  <a:gd name="T24" fmla="*/ 5 w 140"/>
                  <a:gd name="T25" fmla="*/ 64 h 180"/>
                  <a:gd name="T26" fmla="*/ 51 w 140"/>
                  <a:gd name="T27" fmla="*/ 95 h 180"/>
                  <a:gd name="T28" fmla="*/ 61 w 140"/>
                  <a:gd name="T29" fmla="*/ 97 h 180"/>
                  <a:gd name="T30" fmla="*/ 73 w 140"/>
                  <a:gd name="T31" fmla="*/ 135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0" h="180">
                    <a:moveTo>
                      <a:pt x="73" y="135"/>
                    </a:moveTo>
                    <a:lnTo>
                      <a:pt x="111" y="156"/>
                    </a:lnTo>
                    <a:lnTo>
                      <a:pt x="131" y="165"/>
                    </a:lnTo>
                    <a:lnTo>
                      <a:pt x="140" y="180"/>
                    </a:lnTo>
                    <a:lnTo>
                      <a:pt x="117" y="132"/>
                    </a:lnTo>
                    <a:lnTo>
                      <a:pt x="92" y="103"/>
                    </a:lnTo>
                    <a:lnTo>
                      <a:pt x="105" y="83"/>
                    </a:lnTo>
                    <a:lnTo>
                      <a:pt x="90" y="70"/>
                    </a:lnTo>
                    <a:lnTo>
                      <a:pt x="43" y="0"/>
                    </a:lnTo>
                    <a:lnTo>
                      <a:pt x="25" y="0"/>
                    </a:lnTo>
                    <a:lnTo>
                      <a:pt x="25" y="27"/>
                    </a:lnTo>
                    <a:lnTo>
                      <a:pt x="0" y="29"/>
                    </a:lnTo>
                    <a:lnTo>
                      <a:pt x="5" y="64"/>
                    </a:lnTo>
                    <a:lnTo>
                      <a:pt x="51" y="95"/>
                    </a:lnTo>
                    <a:lnTo>
                      <a:pt x="61" y="97"/>
                    </a:lnTo>
                    <a:lnTo>
                      <a:pt x="73" y="13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2" name="Freeform 271">
                <a:extLst>
                  <a:ext uri="{FF2B5EF4-FFF2-40B4-BE49-F238E27FC236}">
                    <a16:creationId xmlns:a16="http://schemas.microsoft.com/office/drawing/2014/main" id="{F80B3D48-3E80-4414-9D2C-5E1B59436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8300" y="5057775"/>
                <a:ext cx="19050" cy="17463"/>
              </a:xfrm>
              <a:custGeom>
                <a:avLst/>
                <a:gdLst>
                  <a:gd name="T0" fmla="*/ 47 w 61"/>
                  <a:gd name="T1" fmla="*/ 37 h 55"/>
                  <a:gd name="T2" fmla="*/ 20 w 61"/>
                  <a:gd name="T3" fmla="*/ 0 h 55"/>
                  <a:gd name="T4" fmla="*/ 0 w 61"/>
                  <a:gd name="T5" fmla="*/ 9 h 55"/>
                  <a:gd name="T6" fmla="*/ 9 w 61"/>
                  <a:gd name="T7" fmla="*/ 26 h 55"/>
                  <a:gd name="T8" fmla="*/ 61 w 61"/>
                  <a:gd name="T9" fmla="*/ 55 h 55"/>
                  <a:gd name="T10" fmla="*/ 47 w 61"/>
                  <a:gd name="T11" fmla="*/ 3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" h="55">
                    <a:moveTo>
                      <a:pt x="47" y="37"/>
                    </a:moveTo>
                    <a:lnTo>
                      <a:pt x="20" y="0"/>
                    </a:lnTo>
                    <a:lnTo>
                      <a:pt x="0" y="9"/>
                    </a:lnTo>
                    <a:lnTo>
                      <a:pt x="9" y="26"/>
                    </a:lnTo>
                    <a:lnTo>
                      <a:pt x="61" y="55"/>
                    </a:lnTo>
                    <a:lnTo>
                      <a:pt x="47" y="3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3" name="Freeform 272">
                <a:extLst>
                  <a:ext uri="{FF2B5EF4-FFF2-40B4-BE49-F238E27FC236}">
                    <a16:creationId xmlns:a16="http://schemas.microsoft.com/office/drawing/2014/main" id="{C269FB28-4B72-4999-8817-ED1B3904F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4825" y="5237163"/>
                <a:ext cx="23813" cy="9525"/>
              </a:xfrm>
              <a:custGeom>
                <a:avLst/>
                <a:gdLst>
                  <a:gd name="T0" fmla="*/ 0 w 78"/>
                  <a:gd name="T1" fmla="*/ 1 h 31"/>
                  <a:gd name="T2" fmla="*/ 47 w 78"/>
                  <a:gd name="T3" fmla="*/ 27 h 31"/>
                  <a:gd name="T4" fmla="*/ 78 w 78"/>
                  <a:gd name="T5" fmla="*/ 31 h 31"/>
                  <a:gd name="T6" fmla="*/ 28 w 78"/>
                  <a:gd name="T7" fmla="*/ 0 h 31"/>
                  <a:gd name="T8" fmla="*/ 0 w 78"/>
                  <a:gd name="T9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31">
                    <a:moveTo>
                      <a:pt x="0" y="1"/>
                    </a:moveTo>
                    <a:lnTo>
                      <a:pt x="47" y="27"/>
                    </a:lnTo>
                    <a:lnTo>
                      <a:pt x="78" y="31"/>
                    </a:lnTo>
                    <a:lnTo>
                      <a:pt x="28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4" name="Freeform 273">
                <a:extLst>
                  <a:ext uri="{FF2B5EF4-FFF2-40B4-BE49-F238E27FC236}">
                    <a16:creationId xmlns:a16="http://schemas.microsoft.com/office/drawing/2014/main" id="{D46E7601-8527-44BD-B465-02C2D8CFE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4988" y="5241925"/>
                <a:ext cx="36513" cy="14288"/>
              </a:xfrm>
              <a:custGeom>
                <a:avLst/>
                <a:gdLst>
                  <a:gd name="T0" fmla="*/ 50 w 116"/>
                  <a:gd name="T1" fmla="*/ 42 h 46"/>
                  <a:gd name="T2" fmla="*/ 105 w 116"/>
                  <a:gd name="T3" fmla="*/ 46 h 46"/>
                  <a:gd name="T4" fmla="*/ 116 w 116"/>
                  <a:gd name="T5" fmla="*/ 26 h 46"/>
                  <a:gd name="T6" fmla="*/ 63 w 116"/>
                  <a:gd name="T7" fmla="*/ 0 h 46"/>
                  <a:gd name="T8" fmla="*/ 0 w 116"/>
                  <a:gd name="T9" fmla="*/ 1 h 46"/>
                  <a:gd name="T10" fmla="*/ 1 w 116"/>
                  <a:gd name="T11" fmla="*/ 16 h 46"/>
                  <a:gd name="T12" fmla="*/ 12 w 116"/>
                  <a:gd name="T13" fmla="*/ 31 h 46"/>
                  <a:gd name="T14" fmla="*/ 50 w 116"/>
                  <a:gd name="T15" fmla="*/ 4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6" h="46">
                    <a:moveTo>
                      <a:pt x="50" y="42"/>
                    </a:moveTo>
                    <a:lnTo>
                      <a:pt x="105" y="46"/>
                    </a:lnTo>
                    <a:lnTo>
                      <a:pt x="116" y="26"/>
                    </a:lnTo>
                    <a:lnTo>
                      <a:pt x="63" y="0"/>
                    </a:lnTo>
                    <a:lnTo>
                      <a:pt x="0" y="1"/>
                    </a:lnTo>
                    <a:lnTo>
                      <a:pt x="1" y="16"/>
                    </a:lnTo>
                    <a:lnTo>
                      <a:pt x="12" y="31"/>
                    </a:lnTo>
                    <a:lnTo>
                      <a:pt x="50" y="4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5" name="Freeform 274">
                <a:extLst>
                  <a:ext uri="{FF2B5EF4-FFF2-40B4-BE49-F238E27FC236}">
                    <a16:creationId xmlns:a16="http://schemas.microsoft.com/office/drawing/2014/main" id="{2D678E1A-BC93-4E3E-8302-5B03305BAA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5260975"/>
                <a:ext cx="60325" cy="15875"/>
              </a:xfrm>
              <a:custGeom>
                <a:avLst/>
                <a:gdLst>
                  <a:gd name="T0" fmla="*/ 194 w 194"/>
                  <a:gd name="T1" fmla="*/ 47 h 47"/>
                  <a:gd name="T2" fmla="*/ 194 w 194"/>
                  <a:gd name="T3" fmla="*/ 33 h 47"/>
                  <a:gd name="T4" fmla="*/ 94 w 194"/>
                  <a:gd name="T5" fmla="*/ 21 h 47"/>
                  <a:gd name="T6" fmla="*/ 0 w 194"/>
                  <a:gd name="T7" fmla="*/ 0 h 47"/>
                  <a:gd name="T8" fmla="*/ 9 w 194"/>
                  <a:gd name="T9" fmla="*/ 23 h 47"/>
                  <a:gd name="T10" fmla="*/ 96 w 194"/>
                  <a:gd name="T11" fmla="*/ 44 h 47"/>
                  <a:gd name="T12" fmla="*/ 194 w 194"/>
                  <a:gd name="T13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4" h="47">
                    <a:moveTo>
                      <a:pt x="194" y="47"/>
                    </a:moveTo>
                    <a:lnTo>
                      <a:pt x="194" y="33"/>
                    </a:lnTo>
                    <a:lnTo>
                      <a:pt x="94" y="21"/>
                    </a:lnTo>
                    <a:lnTo>
                      <a:pt x="0" y="0"/>
                    </a:lnTo>
                    <a:lnTo>
                      <a:pt x="9" y="23"/>
                    </a:lnTo>
                    <a:lnTo>
                      <a:pt x="96" y="44"/>
                    </a:lnTo>
                    <a:lnTo>
                      <a:pt x="194" y="4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6" name="Freeform 275">
                <a:extLst>
                  <a:ext uri="{FF2B5EF4-FFF2-40B4-BE49-F238E27FC236}">
                    <a16:creationId xmlns:a16="http://schemas.microsoft.com/office/drawing/2014/main" id="{22DA18BE-F4E3-4134-9F81-A9ADE61243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1650" y="5281613"/>
                <a:ext cx="12700" cy="12700"/>
              </a:xfrm>
              <a:custGeom>
                <a:avLst/>
                <a:gdLst>
                  <a:gd name="T0" fmla="*/ 0 w 43"/>
                  <a:gd name="T1" fmla="*/ 9 h 41"/>
                  <a:gd name="T2" fmla="*/ 7 w 43"/>
                  <a:gd name="T3" fmla="*/ 27 h 41"/>
                  <a:gd name="T4" fmla="*/ 9 w 43"/>
                  <a:gd name="T5" fmla="*/ 41 h 41"/>
                  <a:gd name="T6" fmla="*/ 43 w 43"/>
                  <a:gd name="T7" fmla="*/ 6 h 41"/>
                  <a:gd name="T8" fmla="*/ 27 w 43"/>
                  <a:gd name="T9" fmla="*/ 0 h 41"/>
                  <a:gd name="T10" fmla="*/ 0 w 43"/>
                  <a:gd name="T11" fmla="*/ 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41">
                    <a:moveTo>
                      <a:pt x="0" y="9"/>
                    </a:moveTo>
                    <a:lnTo>
                      <a:pt x="7" y="27"/>
                    </a:lnTo>
                    <a:lnTo>
                      <a:pt x="9" y="41"/>
                    </a:lnTo>
                    <a:lnTo>
                      <a:pt x="43" y="6"/>
                    </a:lnTo>
                    <a:lnTo>
                      <a:pt x="27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7" name="Freeform 276">
                <a:extLst>
                  <a:ext uri="{FF2B5EF4-FFF2-40B4-BE49-F238E27FC236}">
                    <a16:creationId xmlns:a16="http://schemas.microsoft.com/office/drawing/2014/main" id="{4A479832-7E39-46EE-972E-C4373B47D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6100" y="5299075"/>
                <a:ext cx="63500" cy="19050"/>
              </a:xfrm>
              <a:custGeom>
                <a:avLst/>
                <a:gdLst>
                  <a:gd name="T0" fmla="*/ 93 w 200"/>
                  <a:gd name="T1" fmla="*/ 32 h 61"/>
                  <a:gd name="T2" fmla="*/ 38 w 200"/>
                  <a:gd name="T3" fmla="*/ 0 h 61"/>
                  <a:gd name="T4" fmla="*/ 0 w 200"/>
                  <a:gd name="T5" fmla="*/ 7 h 61"/>
                  <a:gd name="T6" fmla="*/ 98 w 200"/>
                  <a:gd name="T7" fmla="*/ 61 h 61"/>
                  <a:gd name="T8" fmla="*/ 136 w 200"/>
                  <a:gd name="T9" fmla="*/ 41 h 61"/>
                  <a:gd name="T10" fmla="*/ 200 w 200"/>
                  <a:gd name="T11" fmla="*/ 45 h 61"/>
                  <a:gd name="T12" fmla="*/ 136 w 200"/>
                  <a:gd name="T13" fmla="*/ 23 h 61"/>
                  <a:gd name="T14" fmla="*/ 93 w 200"/>
                  <a:gd name="T15" fmla="*/ 3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0" h="61">
                    <a:moveTo>
                      <a:pt x="93" y="32"/>
                    </a:moveTo>
                    <a:lnTo>
                      <a:pt x="38" y="0"/>
                    </a:lnTo>
                    <a:lnTo>
                      <a:pt x="0" y="7"/>
                    </a:lnTo>
                    <a:lnTo>
                      <a:pt x="98" y="61"/>
                    </a:lnTo>
                    <a:lnTo>
                      <a:pt x="136" y="41"/>
                    </a:lnTo>
                    <a:lnTo>
                      <a:pt x="200" y="45"/>
                    </a:lnTo>
                    <a:lnTo>
                      <a:pt x="136" y="23"/>
                    </a:lnTo>
                    <a:lnTo>
                      <a:pt x="93" y="3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8" name="Freeform 277">
                <a:extLst>
                  <a:ext uri="{FF2B5EF4-FFF2-40B4-BE49-F238E27FC236}">
                    <a16:creationId xmlns:a16="http://schemas.microsoft.com/office/drawing/2014/main" id="{A3EE1971-F5B3-416B-B008-AC6F19348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1000" y="5113338"/>
                <a:ext cx="30163" cy="28575"/>
              </a:xfrm>
              <a:custGeom>
                <a:avLst/>
                <a:gdLst>
                  <a:gd name="T0" fmla="*/ 0 w 94"/>
                  <a:gd name="T1" fmla="*/ 0 h 92"/>
                  <a:gd name="T2" fmla="*/ 94 w 94"/>
                  <a:gd name="T3" fmla="*/ 92 h 92"/>
                  <a:gd name="T4" fmla="*/ 88 w 94"/>
                  <a:gd name="T5" fmla="*/ 63 h 92"/>
                  <a:gd name="T6" fmla="*/ 0 w 94"/>
                  <a:gd name="T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4" h="92">
                    <a:moveTo>
                      <a:pt x="0" y="0"/>
                    </a:moveTo>
                    <a:lnTo>
                      <a:pt x="94" y="92"/>
                    </a:lnTo>
                    <a:lnTo>
                      <a:pt x="88" y="6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9" name="Freeform 278">
                <a:extLst>
                  <a:ext uri="{FF2B5EF4-FFF2-40B4-BE49-F238E27FC236}">
                    <a16:creationId xmlns:a16="http://schemas.microsoft.com/office/drawing/2014/main" id="{9601257D-495C-4739-8AE9-278B7A61E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7538" y="5319713"/>
                <a:ext cx="38100" cy="19050"/>
              </a:xfrm>
              <a:custGeom>
                <a:avLst/>
                <a:gdLst>
                  <a:gd name="T0" fmla="*/ 13 w 122"/>
                  <a:gd name="T1" fmla="*/ 0 h 59"/>
                  <a:gd name="T2" fmla="*/ 0 w 122"/>
                  <a:gd name="T3" fmla="*/ 6 h 59"/>
                  <a:gd name="T4" fmla="*/ 40 w 122"/>
                  <a:gd name="T5" fmla="*/ 40 h 59"/>
                  <a:gd name="T6" fmla="*/ 118 w 122"/>
                  <a:gd name="T7" fmla="*/ 59 h 59"/>
                  <a:gd name="T8" fmla="*/ 122 w 122"/>
                  <a:gd name="T9" fmla="*/ 41 h 59"/>
                  <a:gd name="T10" fmla="*/ 53 w 122"/>
                  <a:gd name="T11" fmla="*/ 22 h 59"/>
                  <a:gd name="T12" fmla="*/ 13 w 122"/>
                  <a:gd name="T13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59">
                    <a:moveTo>
                      <a:pt x="13" y="0"/>
                    </a:moveTo>
                    <a:lnTo>
                      <a:pt x="0" y="6"/>
                    </a:lnTo>
                    <a:lnTo>
                      <a:pt x="40" y="40"/>
                    </a:lnTo>
                    <a:lnTo>
                      <a:pt x="118" y="59"/>
                    </a:lnTo>
                    <a:lnTo>
                      <a:pt x="122" y="41"/>
                    </a:lnTo>
                    <a:lnTo>
                      <a:pt x="53" y="2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0" name="Freeform 279">
                <a:extLst>
                  <a:ext uri="{FF2B5EF4-FFF2-40B4-BE49-F238E27FC236}">
                    <a16:creationId xmlns:a16="http://schemas.microsoft.com/office/drawing/2014/main" id="{DEDA7FBE-EB6F-4607-A7C3-CB01A8B3D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6263" y="5322888"/>
                <a:ext cx="11113" cy="4763"/>
              </a:xfrm>
              <a:custGeom>
                <a:avLst/>
                <a:gdLst>
                  <a:gd name="T0" fmla="*/ 15 w 33"/>
                  <a:gd name="T1" fmla="*/ 17 h 17"/>
                  <a:gd name="T2" fmla="*/ 33 w 33"/>
                  <a:gd name="T3" fmla="*/ 4 h 17"/>
                  <a:gd name="T4" fmla="*/ 0 w 33"/>
                  <a:gd name="T5" fmla="*/ 0 h 17"/>
                  <a:gd name="T6" fmla="*/ 15 w 33"/>
                  <a:gd name="T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17">
                    <a:moveTo>
                      <a:pt x="15" y="17"/>
                    </a:moveTo>
                    <a:lnTo>
                      <a:pt x="33" y="4"/>
                    </a:lnTo>
                    <a:lnTo>
                      <a:pt x="0" y="0"/>
                    </a:lnTo>
                    <a:lnTo>
                      <a:pt x="15" y="1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1" name="Freeform 280">
                <a:extLst>
                  <a:ext uri="{FF2B5EF4-FFF2-40B4-BE49-F238E27FC236}">
                    <a16:creationId xmlns:a16="http://schemas.microsoft.com/office/drawing/2014/main" id="{CBA3B5DA-051B-48D5-A598-92664A805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175" y="4811713"/>
                <a:ext cx="555625" cy="474663"/>
              </a:xfrm>
              <a:custGeom>
                <a:avLst/>
                <a:gdLst>
                  <a:gd name="T0" fmla="*/ 1700 w 1753"/>
                  <a:gd name="T1" fmla="*/ 524 h 1495"/>
                  <a:gd name="T2" fmla="*/ 1653 w 1753"/>
                  <a:gd name="T3" fmla="*/ 428 h 1495"/>
                  <a:gd name="T4" fmla="*/ 1608 w 1753"/>
                  <a:gd name="T5" fmla="*/ 276 h 1495"/>
                  <a:gd name="T6" fmla="*/ 1299 w 1753"/>
                  <a:gd name="T7" fmla="*/ 312 h 1495"/>
                  <a:gd name="T8" fmla="*/ 1049 w 1753"/>
                  <a:gd name="T9" fmla="*/ 62 h 1495"/>
                  <a:gd name="T10" fmla="*/ 897 w 1753"/>
                  <a:gd name="T11" fmla="*/ 0 h 1495"/>
                  <a:gd name="T12" fmla="*/ 807 w 1753"/>
                  <a:gd name="T13" fmla="*/ 78 h 1495"/>
                  <a:gd name="T14" fmla="*/ 719 w 1753"/>
                  <a:gd name="T15" fmla="*/ 137 h 1495"/>
                  <a:gd name="T16" fmla="*/ 662 w 1753"/>
                  <a:gd name="T17" fmla="*/ 265 h 1495"/>
                  <a:gd name="T18" fmla="*/ 556 w 1753"/>
                  <a:gd name="T19" fmla="*/ 355 h 1495"/>
                  <a:gd name="T20" fmla="*/ 571 w 1753"/>
                  <a:gd name="T21" fmla="*/ 461 h 1495"/>
                  <a:gd name="T22" fmla="*/ 495 w 1753"/>
                  <a:gd name="T23" fmla="*/ 466 h 1495"/>
                  <a:gd name="T24" fmla="*/ 330 w 1753"/>
                  <a:gd name="T25" fmla="*/ 414 h 1495"/>
                  <a:gd name="T26" fmla="*/ 144 w 1753"/>
                  <a:gd name="T27" fmla="*/ 482 h 1495"/>
                  <a:gd name="T28" fmla="*/ 39 w 1753"/>
                  <a:gd name="T29" fmla="*/ 452 h 1495"/>
                  <a:gd name="T30" fmla="*/ 0 w 1753"/>
                  <a:gd name="T31" fmla="*/ 506 h 1495"/>
                  <a:gd name="T32" fmla="*/ 25 w 1753"/>
                  <a:gd name="T33" fmla="*/ 618 h 1495"/>
                  <a:gd name="T34" fmla="*/ 78 w 1753"/>
                  <a:gd name="T35" fmla="*/ 685 h 1495"/>
                  <a:gd name="T36" fmla="*/ 133 w 1753"/>
                  <a:gd name="T37" fmla="*/ 773 h 1495"/>
                  <a:gd name="T38" fmla="*/ 155 w 1753"/>
                  <a:gd name="T39" fmla="*/ 711 h 1495"/>
                  <a:gd name="T40" fmla="*/ 172 w 1753"/>
                  <a:gd name="T41" fmla="*/ 697 h 1495"/>
                  <a:gd name="T42" fmla="*/ 194 w 1753"/>
                  <a:gd name="T43" fmla="*/ 617 h 1495"/>
                  <a:gd name="T44" fmla="*/ 257 w 1753"/>
                  <a:gd name="T45" fmla="*/ 530 h 1495"/>
                  <a:gd name="T46" fmla="*/ 335 w 1753"/>
                  <a:gd name="T47" fmla="*/ 579 h 1495"/>
                  <a:gd name="T48" fmla="*/ 432 w 1753"/>
                  <a:gd name="T49" fmla="*/ 727 h 1495"/>
                  <a:gd name="T50" fmla="*/ 467 w 1753"/>
                  <a:gd name="T51" fmla="*/ 870 h 1495"/>
                  <a:gd name="T52" fmla="*/ 571 w 1753"/>
                  <a:gd name="T53" fmla="*/ 976 h 1495"/>
                  <a:gd name="T54" fmla="*/ 594 w 1753"/>
                  <a:gd name="T55" fmla="*/ 1012 h 1495"/>
                  <a:gd name="T56" fmla="*/ 511 w 1753"/>
                  <a:gd name="T57" fmla="*/ 952 h 1495"/>
                  <a:gd name="T58" fmla="*/ 531 w 1753"/>
                  <a:gd name="T59" fmla="*/ 989 h 1495"/>
                  <a:gd name="T60" fmla="*/ 481 w 1753"/>
                  <a:gd name="T61" fmla="*/ 989 h 1495"/>
                  <a:gd name="T62" fmla="*/ 620 w 1753"/>
                  <a:gd name="T63" fmla="*/ 1178 h 1495"/>
                  <a:gd name="T64" fmla="*/ 700 w 1753"/>
                  <a:gd name="T65" fmla="*/ 1266 h 1495"/>
                  <a:gd name="T66" fmla="*/ 818 w 1753"/>
                  <a:gd name="T67" fmla="*/ 1323 h 1495"/>
                  <a:gd name="T68" fmla="*/ 943 w 1753"/>
                  <a:gd name="T69" fmla="*/ 1316 h 1495"/>
                  <a:gd name="T70" fmla="*/ 1034 w 1753"/>
                  <a:gd name="T71" fmla="*/ 1410 h 1495"/>
                  <a:gd name="T72" fmla="*/ 1187 w 1753"/>
                  <a:gd name="T73" fmla="*/ 1495 h 1495"/>
                  <a:gd name="T74" fmla="*/ 1245 w 1753"/>
                  <a:gd name="T75" fmla="*/ 1474 h 1495"/>
                  <a:gd name="T76" fmla="*/ 1144 w 1753"/>
                  <a:gd name="T77" fmla="*/ 1329 h 1495"/>
                  <a:gd name="T78" fmla="*/ 1067 w 1753"/>
                  <a:gd name="T79" fmla="*/ 1243 h 1495"/>
                  <a:gd name="T80" fmla="*/ 855 w 1753"/>
                  <a:gd name="T81" fmla="*/ 1009 h 1495"/>
                  <a:gd name="T82" fmla="*/ 824 w 1753"/>
                  <a:gd name="T83" fmla="*/ 900 h 1495"/>
                  <a:gd name="T84" fmla="*/ 691 w 1753"/>
                  <a:gd name="T85" fmla="*/ 579 h 1495"/>
                  <a:gd name="T86" fmla="*/ 775 w 1753"/>
                  <a:gd name="T87" fmla="*/ 648 h 1495"/>
                  <a:gd name="T88" fmla="*/ 862 w 1753"/>
                  <a:gd name="T89" fmla="*/ 674 h 1495"/>
                  <a:gd name="T90" fmla="*/ 934 w 1753"/>
                  <a:gd name="T91" fmla="*/ 590 h 1495"/>
                  <a:gd name="T92" fmla="*/ 1164 w 1753"/>
                  <a:gd name="T93" fmla="*/ 591 h 1495"/>
                  <a:gd name="T94" fmla="*/ 1368 w 1753"/>
                  <a:gd name="T95" fmla="*/ 594 h 1495"/>
                  <a:gd name="T96" fmla="*/ 1572 w 1753"/>
                  <a:gd name="T97" fmla="*/ 714 h 1495"/>
                  <a:gd name="T98" fmla="*/ 1682 w 1753"/>
                  <a:gd name="T99" fmla="*/ 690 h 1495"/>
                  <a:gd name="T100" fmla="*/ 1753 w 1753"/>
                  <a:gd name="T101" fmla="*/ 560 h 1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53" h="1495">
                    <a:moveTo>
                      <a:pt x="1743" y="524"/>
                    </a:moveTo>
                    <a:lnTo>
                      <a:pt x="1700" y="524"/>
                    </a:lnTo>
                    <a:lnTo>
                      <a:pt x="1643" y="511"/>
                    </a:lnTo>
                    <a:lnTo>
                      <a:pt x="1653" y="428"/>
                    </a:lnTo>
                    <a:lnTo>
                      <a:pt x="1616" y="399"/>
                    </a:lnTo>
                    <a:lnTo>
                      <a:pt x="1608" y="276"/>
                    </a:lnTo>
                    <a:lnTo>
                      <a:pt x="1468" y="287"/>
                    </a:lnTo>
                    <a:lnTo>
                      <a:pt x="1299" y="312"/>
                    </a:lnTo>
                    <a:lnTo>
                      <a:pt x="1120" y="137"/>
                    </a:lnTo>
                    <a:lnTo>
                      <a:pt x="1049" y="62"/>
                    </a:lnTo>
                    <a:lnTo>
                      <a:pt x="962" y="32"/>
                    </a:lnTo>
                    <a:lnTo>
                      <a:pt x="897" y="0"/>
                    </a:lnTo>
                    <a:lnTo>
                      <a:pt x="833" y="8"/>
                    </a:lnTo>
                    <a:lnTo>
                      <a:pt x="807" y="78"/>
                    </a:lnTo>
                    <a:lnTo>
                      <a:pt x="745" y="66"/>
                    </a:lnTo>
                    <a:lnTo>
                      <a:pt x="719" y="137"/>
                    </a:lnTo>
                    <a:lnTo>
                      <a:pt x="621" y="155"/>
                    </a:lnTo>
                    <a:lnTo>
                      <a:pt x="662" y="265"/>
                    </a:lnTo>
                    <a:lnTo>
                      <a:pt x="610" y="336"/>
                    </a:lnTo>
                    <a:lnTo>
                      <a:pt x="556" y="355"/>
                    </a:lnTo>
                    <a:lnTo>
                      <a:pt x="553" y="425"/>
                    </a:lnTo>
                    <a:lnTo>
                      <a:pt x="571" y="461"/>
                    </a:lnTo>
                    <a:lnTo>
                      <a:pt x="549" y="483"/>
                    </a:lnTo>
                    <a:lnTo>
                      <a:pt x="495" y="466"/>
                    </a:lnTo>
                    <a:lnTo>
                      <a:pt x="397" y="462"/>
                    </a:lnTo>
                    <a:lnTo>
                      <a:pt x="330" y="414"/>
                    </a:lnTo>
                    <a:lnTo>
                      <a:pt x="296" y="472"/>
                    </a:lnTo>
                    <a:lnTo>
                      <a:pt x="144" y="482"/>
                    </a:lnTo>
                    <a:lnTo>
                      <a:pt x="95" y="461"/>
                    </a:lnTo>
                    <a:lnTo>
                      <a:pt x="39" y="452"/>
                    </a:lnTo>
                    <a:lnTo>
                      <a:pt x="0" y="472"/>
                    </a:lnTo>
                    <a:lnTo>
                      <a:pt x="0" y="506"/>
                    </a:lnTo>
                    <a:lnTo>
                      <a:pt x="34" y="559"/>
                    </a:lnTo>
                    <a:lnTo>
                      <a:pt x="25" y="618"/>
                    </a:lnTo>
                    <a:lnTo>
                      <a:pt x="42" y="658"/>
                    </a:lnTo>
                    <a:lnTo>
                      <a:pt x="78" y="685"/>
                    </a:lnTo>
                    <a:lnTo>
                      <a:pt x="90" y="747"/>
                    </a:lnTo>
                    <a:lnTo>
                      <a:pt x="133" y="773"/>
                    </a:lnTo>
                    <a:lnTo>
                      <a:pt x="136" y="757"/>
                    </a:lnTo>
                    <a:lnTo>
                      <a:pt x="155" y="711"/>
                    </a:lnTo>
                    <a:lnTo>
                      <a:pt x="165" y="681"/>
                    </a:lnTo>
                    <a:lnTo>
                      <a:pt x="172" y="697"/>
                    </a:lnTo>
                    <a:lnTo>
                      <a:pt x="202" y="657"/>
                    </a:lnTo>
                    <a:lnTo>
                      <a:pt x="194" y="617"/>
                    </a:lnTo>
                    <a:lnTo>
                      <a:pt x="211" y="540"/>
                    </a:lnTo>
                    <a:lnTo>
                      <a:pt x="257" y="530"/>
                    </a:lnTo>
                    <a:lnTo>
                      <a:pt x="283" y="560"/>
                    </a:lnTo>
                    <a:lnTo>
                      <a:pt x="335" y="579"/>
                    </a:lnTo>
                    <a:lnTo>
                      <a:pt x="408" y="672"/>
                    </a:lnTo>
                    <a:lnTo>
                      <a:pt x="432" y="727"/>
                    </a:lnTo>
                    <a:lnTo>
                      <a:pt x="446" y="828"/>
                    </a:lnTo>
                    <a:lnTo>
                      <a:pt x="467" y="870"/>
                    </a:lnTo>
                    <a:lnTo>
                      <a:pt x="504" y="917"/>
                    </a:lnTo>
                    <a:lnTo>
                      <a:pt x="571" y="976"/>
                    </a:lnTo>
                    <a:lnTo>
                      <a:pt x="601" y="981"/>
                    </a:lnTo>
                    <a:lnTo>
                      <a:pt x="594" y="1012"/>
                    </a:lnTo>
                    <a:lnTo>
                      <a:pt x="561" y="979"/>
                    </a:lnTo>
                    <a:lnTo>
                      <a:pt x="511" y="952"/>
                    </a:lnTo>
                    <a:lnTo>
                      <a:pt x="511" y="966"/>
                    </a:lnTo>
                    <a:lnTo>
                      <a:pt x="531" y="989"/>
                    </a:lnTo>
                    <a:lnTo>
                      <a:pt x="511" y="993"/>
                    </a:lnTo>
                    <a:lnTo>
                      <a:pt x="481" y="989"/>
                    </a:lnTo>
                    <a:lnTo>
                      <a:pt x="482" y="1003"/>
                    </a:lnTo>
                    <a:lnTo>
                      <a:pt x="620" y="1178"/>
                    </a:lnTo>
                    <a:lnTo>
                      <a:pt x="707" y="1243"/>
                    </a:lnTo>
                    <a:lnTo>
                      <a:pt x="700" y="1266"/>
                    </a:lnTo>
                    <a:lnTo>
                      <a:pt x="736" y="1320"/>
                    </a:lnTo>
                    <a:lnTo>
                      <a:pt x="818" y="1323"/>
                    </a:lnTo>
                    <a:lnTo>
                      <a:pt x="861" y="1303"/>
                    </a:lnTo>
                    <a:lnTo>
                      <a:pt x="943" y="1316"/>
                    </a:lnTo>
                    <a:lnTo>
                      <a:pt x="1012" y="1365"/>
                    </a:lnTo>
                    <a:lnTo>
                      <a:pt x="1034" y="1410"/>
                    </a:lnTo>
                    <a:lnTo>
                      <a:pt x="1147" y="1489"/>
                    </a:lnTo>
                    <a:lnTo>
                      <a:pt x="1187" y="1495"/>
                    </a:lnTo>
                    <a:lnTo>
                      <a:pt x="1232" y="1488"/>
                    </a:lnTo>
                    <a:lnTo>
                      <a:pt x="1245" y="1474"/>
                    </a:lnTo>
                    <a:lnTo>
                      <a:pt x="1242" y="1414"/>
                    </a:lnTo>
                    <a:lnTo>
                      <a:pt x="1144" y="1329"/>
                    </a:lnTo>
                    <a:lnTo>
                      <a:pt x="1120" y="1279"/>
                    </a:lnTo>
                    <a:lnTo>
                      <a:pt x="1067" y="1243"/>
                    </a:lnTo>
                    <a:lnTo>
                      <a:pt x="1015" y="1147"/>
                    </a:lnTo>
                    <a:lnTo>
                      <a:pt x="855" y="1009"/>
                    </a:lnTo>
                    <a:lnTo>
                      <a:pt x="857" y="907"/>
                    </a:lnTo>
                    <a:lnTo>
                      <a:pt x="824" y="900"/>
                    </a:lnTo>
                    <a:lnTo>
                      <a:pt x="686" y="719"/>
                    </a:lnTo>
                    <a:lnTo>
                      <a:pt x="691" y="579"/>
                    </a:lnTo>
                    <a:lnTo>
                      <a:pt x="740" y="569"/>
                    </a:lnTo>
                    <a:lnTo>
                      <a:pt x="775" y="648"/>
                    </a:lnTo>
                    <a:lnTo>
                      <a:pt x="798" y="672"/>
                    </a:lnTo>
                    <a:lnTo>
                      <a:pt x="862" y="674"/>
                    </a:lnTo>
                    <a:lnTo>
                      <a:pt x="891" y="614"/>
                    </a:lnTo>
                    <a:lnTo>
                      <a:pt x="934" y="590"/>
                    </a:lnTo>
                    <a:lnTo>
                      <a:pt x="1031" y="589"/>
                    </a:lnTo>
                    <a:lnTo>
                      <a:pt x="1164" y="591"/>
                    </a:lnTo>
                    <a:lnTo>
                      <a:pt x="1222" y="637"/>
                    </a:lnTo>
                    <a:lnTo>
                      <a:pt x="1368" y="594"/>
                    </a:lnTo>
                    <a:lnTo>
                      <a:pt x="1538" y="665"/>
                    </a:lnTo>
                    <a:lnTo>
                      <a:pt x="1572" y="714"/>
                    </a:lnTo>
                    <a:lnTo>
                      <a:pt x="1622" y="753"/>
                    </a:lnTo>
                    <a:lnTo>
                      <a:pt x="1682" y="690"/>
                    </a:lnTo>
                    <a:lnTo>
                      <a:pt x="1684" y="600"/>
                    </a:lnTo>
                    <a:lnTo>
                      <a:pt x="1753" y="560"/>
                    </a:lnTo>
                    <a:lnTo>
                      <a:pt x="1743" y="52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2" name="Freeform 281">
                <a:extLst>
                  <a:ext uri="{FF2B5EF4-FFF2-40B4-BE49-F238E27FC236}">
                    <a16:creationId xmlns:a16="http://schemas.microsoft.com/office/drawing/2014/main" id="{3601AC68-55FB-4687-B82B-183D574D3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7375" y="5287963"/>
                <a:ext cx="153988" cy="88900"/>
              </a:xfrm>
              <a:custGeom>
                <a:avLst/>
                <a:gdLst>
                  <a:gd name="T0" fmla="*/ 458 w 483"/>
                  <a:gd name="T1" fmla="*/ 172 h 282"/>
                  <a:gd name="T2" fmla="*/ 411 w 483"/>
                  <a:gd name="T3" fmla="*/ 98 h 282"/>
                  <a:gd name="T4" fmla="*/ 331 w 483"/>
                  <a:gd name="T5" fmla="*/ 79 h 282"/>
                  <a:gd name="T6" fmla="*/ 277 w 483"/>
                  <a:gd name="T7" fmla="*/ 0 h 282"/>
                  <a:gd name="T8" fmla="*/ 230 w 483"/>
                  <a:gd name="T9" fmla="*/ 5 h 282"/>
                  <a:gd name="T10" fmla="*/ 192 w 483"/>
                  <a:gd name="T11" fmla="*/ 30 h 282"/>
                  <a:gd name="T12" fmla="*/ 199 w 483"/>
                  <a:gd name="T13" fmla="*/ 60 h 282"/>
                  <a:gd name="T14" fmla="*/ 183 w 483"/>
                  <a:gd name="T15" fmla="*/ 48 h 282"/>
                  <a:gd name="T16" fmla="*/ 125 w 483"/>
                  <a:gd name="T17" fmla="*/ 35 h 282"/>
                  <a:gd name="T18" fmla="*/ 85 w 483"/>
                  <a:gd name="T19" fmla="*/ 22 h 282"/>
                  <a:gd name="T20" fmla="*/ 0 w 483"/>
                  <a:gd name="T21" fmla="*/ 11 h 282"/>
                  <a:gd name="T22" fmla="*/ 25 w 483"/>
                  <a:gd name="T23" fmla="*/ 47 h 282"/>
                  <a:gd name="T24" fmla="*/ 83 w 483"/>
                  <a:gd name="T25" fmla="*/ 61 h 282"/>
                  <a:gd name="T26" fmla="*/ 121 w 483"/>
                  <a:gd name="T27" fmla="*/ 68 h 282"/>
                  <a:gd name="T28" fmla="*/ 194 w 483"/>
                  <a:gd name="T29" fmla="*/ 103 h 282"/>
                  <a:gd name="T30" fmla="*/ 242 w 483"/>
                  <a:gd name="T31" fmla="*/ 136 h 282"/>
                  <a:gd name="T32" fmla="*/ 225 w 483"/>
                  <a:gd name="T33" fmla="*/ 96 h 282"/>
                  <a:gd name="T34" fmla="*/ 270 w 483"/>
                  <a:gd name="T35" fmla="*/ 118 h 282"/>
                  <a:gd name="T36" fmla="*/ 313 w 483"/>
                  <a:gd name="T37" fmla="*/ 168 h 282"/>
                  <a:gd name="T38" fmla="*/ 398 w 483"/>
                  <a:gd name="T39" fmla="*/ 219 h 282"/>
                  <a:gd name="T40" fmla="*/ 398 w 483"/>
                  <a:gd name="T41" fmla="*/ 219 h 282"/>
                  <a:gd name="T42" fmla="*/ 405 w 483"/>
                  <a:gd name="T43" fmla="*/ 224 h 282"/>
                  <a:gd name="T44" fmla="*/ 413 w 483"/>
                  <a:gd name="T45" fmla="*/ 231 h 282"/>
                  <a:gd name="T46" fmla="*/ 420 w 483"/>
                  <a:gd name="T47" fmla="*/ 241 h 282"/>
                  <a:gd name="T48" fmla="*/ 420 w 483"/>
                  <a:gd name="T49" fmla="*/ 241 h 282"/>
                  <a:gd name="T50" fmla="*/ 431 w 483"/>
                  <a:gd name="T51" fmla="*/ 251 h 282"/>
                  <a:gd name="T52" fmla="*/ 446 w 483"/>
                  <a:gd name="T53" fmla="*/ 263 h 282"/>
                  <a:gd name="T54" fmla="*/ 463 w 483"/>
                  <a:gd name="T55" fmla="*/ 275 h 282"/>
                  <a:gd name="T56" fmla="*/ 483 w 483"/>
                  <a:gd name="T57" fmla="*/ 282 h 282"/>
                  <a:gd name="T58" fmla="*/ 475 w 483"/>
                  <a:gd name="T59" fmla="*/ 249 h 282"/>
                  <a:gd name="T60" fmla="*/ 458 w 483"/>
                  <a:gd name="T61" fmla="*/ 172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83" h="282">
                    <a:moveTo>
                      <a:pt x="458" y="172"/>
                    </a:moveTo>
                    <a:lnTo>
                      <a:pt x="411" y="98"/>
                    </a:lnTo>
                    <a:lnTo>
                      <a:pt x="331" y="79"/>
                    </a:lnTo>
                    <a:lnTo>
                      <a:pt x="277" y="0"/>
                    </a:lnTo>
                    <a:lnTo>
                      <a:pt x="230" y="5"/>
                    </a:lnTo>
                    <a:lnTo>
                      <a:pt x="192" y="30"/>
                    </a:lnTo>
                    <a:lnTo>
                      <a:pt x="199" y="60"/>
                    </a:lnTo>
                    <a:lnTo>
                      <a:pt x="183" y="48"/>
                    </a:lnTo>
                    <a:lnTo>
                      <a:pt x="125" y="35"/>
                    </a:lnTo>
                    <a:lnTo>
                      <a:pt x="85" y="22"/>
                    </a:lnTo>
                    <a:lnTo>
                      <a:pt x="0" y="11"/>
                    </a:lnTo>
                    <a:lnTo>
                      <a:pt x="25" y="47"/>
                    </a:lnTo>
                    <a:lnTo>
                      <a:pt x="83" y="61"/>
                    </a:lnTo>
                    <a:lnTo>
                      <a:pt x="121" y="68"/>
                    </a:lnTo>
                    <a:lnTo>
                      <a:pt x="194" y="103"/>
                    </a:lnTo>
                    <a:lnTo>
                      <a:pt x="242" y="136"/>
                    </a:lnTo>
                    <a:lnTo>
                      <a:pt x="225" y="96"/>
                    </a:lnTo>
                    <a:lnTo>
                      <a:pt x="270" y="118"/>
                    </a:lnTo>
                    <a:lnTo>
                      <a:pt x="313" y="168"/>
                    </a:lnTo>
                    <a:lnTo>
                      <a:pt x="398" y="219"/>
                    </a:lnTo>
                    <a:lnTo>
                      <a:pt x="398" y="219"/>
                    </a:lnTo>
                    <a:lnTo>
                      <a:pt x="405" y="224"/>
                    </a:lnTo>
                    <a:lnTo>
                      <a:pt x="413" y="231"/>
                    </a:lnTo>
                    <a:lnTo>
                      <a:pt x="420" y="241"/>
                    </a:lnTo>
                    <a:lnTo>
                      <a:pt x="420" y="241"/>
                    </a:lnTo>
                    <a:lnTo>
                      <a:pt x="431" y="251"/>
                    </a:lnTo>
                    <a:lnTo>
                      <a:pt x="446" y="263"/>
                    </a:lnTo>
                    <a:lnTo>
                      <a:pt x="463" y="275"/>
                    </a:lnTo>
                    <a:lnTo>
                      <a:pt x="483" y="282"/>
                    </a:lnTo>
                    <a:lnTo>
                      <a:pt x="475" y="249"/>
                    </a:lnTo>
                    <a:lnTo>
                      <a:pt x="458" y="17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423B129C-A3E8-4E15-96ED-F59AC0C950CF}"/>
                </a:ext>
              </a:extLst>
            </p:cNvPr>
            <p:cNvGrpSpPr/>
            <p:nvPr/>
          </p:nvGrpSpPr>
          <p:grpSpPr>
            <a:xfrm>
              <a:off x="3081338" y="3783013"/>
              <a:ext cx="381000" cy="428625"/>
              <a:chOff x="3081338" y="3783013"/>
              <a:chExt cx="381000" cy="428625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110" name="Freeform 282">
                <a:extLst>
                  <a:ext uri="{FF2B5EF4-FFF2-40B4-BE49-F238E27FC236}">
                    <a16:creationId xmlns:a16="http://schemas.microsoft.com/office/drawing/2014/main" id="{1365CC11-C29C-4573-82E0-74D29C33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275" y="3833813"/>
                <a:ext cx="22225" cy="41275"/>
              </a:xfrm>
              <a:custGeom>
                <a:avLst/>
                <a:gdLst>
                  <a:gd name="T0" fmla="*/ 50 w 66"/>
                  <a:gd name="T1" fmla="*/ 130 h 130"/>
                  <a:gd name="T2" fmla="*/ 0 w 66"/>
                  <a:gd name="T3" fmla="*/ 130 h 130"/>
                  <a:gd name="T4" fmla="*/ 5 w 66"/>
                  <a:gd name="T5" fmla="*/ 51 h 130"/>
                  <a:gd name="T6" fmla="*/ 35 w 66"/>
                  <a:gd name="T7" fmla="*/ 11 h 130"/>
                  <a:gd name="T8" fmla="*/ 62 w 66"/>
                  <a:gd name="T9" fmla="*/ 0 h 130"/>
                  <a:gd name="T10" fmla="*/ 66 w 66"/>
                  <a:gd name="T11" fmla="*/ 37 h 130"/>
                  <a:gd name="T12" fmla="*/ 56 w 66"/>
                  <a:gd name="T13" fmla="*/ 70 h 130"/>
                  <a:gd name="T14" fmla="*/ 50 w 66"/>
                  <a:gd name="T15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130">
                    <a:moveTo>
                      <a:pt x="50" y="130"/>
                    </a:moveTo>
                    <a:lnTo>
                      <a:pt x="0" y="130"/>
                    </a:lnTo>
                    <a:lnTo>
                      <a:pt x="5" y="51"/>
                    </a:lnTo>
                    <a:lnTo>
                      <a:pt x="35" y="11"/>
                    </a:lnTo>
                    <a:lnTo>
                      <a:pt x="62" y="0"/>
                    </a:lnTo>
                    <a:lnTo>
                      <a:pt x="66" y="37"/>
                    </a:lnTo>
                    <a:lnTo>
                      <a:pt x="56" y="70"/>
                    </a:lnTo>
                    <a:lnTo>
                      <a:pt x="50" y="1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1" name="Freeform 283">
                <a:extLst>
                  <a:ext uri="{FF2B5EF4-FFF2-40B4-BE49-F238E27FC236}">
                    <a16:creationId xmlns:a16="http://schemas.microsoft.com/office/drawing/2014/main" id="{A9D83030-7C17-4FC6-9947-6D976CEBE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0088" y="3808413"/>
                <a:ext cx="34925" cy="30163"/>
              </a:xfrm>
              <a:custGeom>
                <a:avLst/>
                <a:gdLst>
                  <a:gd name="T0" fmla="*/ 30 w 110"/>
                  <a:gd name="T1" fmla="*/ 67 h 94"/>
                  <a:gd name="T2" fmla="*/ 54 w 110"/>
                  <a:gd name="T3" fmla="*/ 40 h 94"/>
                  <a:gd name="T4" fmla="*/ 110 w 110"/>
                  <a:gd name="T5" fmla="*/ 7 h 94"/>
                  <a:gd name="T6" fmla="*/ 94 w 110"/>
                  <a:gd name="T7" fmla="*/ 0 h 94"/>
                  <a:gd name="T8" fmla="*/ 30 w 110"/>
                  <a:gd name="T9" fmla="*/ 33 h 94"/>
                  <a:gd name="T10" fmla="*/ 0 w 110"/>
                  <a:gd name="T11" fmla="*/ 63 h 94"/>
                  <a:gd name="T12" fmla="*/ 11 w 110"/>
                  <a:gd name="T13" fmla="*/ 94 h 94"/>
                  <a:gd name="T14" fmla="*/ 30 w 110"/>
                  <a:gd name="T15" fmla="*/ 6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4">
                    <a:moveTo>
                      <a:pt x="30" y="67"/>
                    </a:moveTo>
                    <a:lnTo>
                      <a:pt x="54" y="40"/>
                    </a:lnTo>
                    <a:lnTo>
                      <a:pt x="110" y="7"/>
                    </a:lnTo>
                    <a:lnTo>
                      <a:pt x="94" y="0"/>
                    </a:lnTo>
                    <a:lnTo>
                      <a:pt x="30" y="33"/>
                    </a:lnTo>
                    <a:lnTo>
                      <a:pt x="0" y="63"/>
                    </a:lnTo>
                    <a:lnTo>
                      <a:pt x="11" y="94"/>
                    </a:lnTo>
                    <a:lnTo>
                      <a:pt x="30" y="6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2" name="Freeform 284">
                <a:extLst>
                  <a:ext uri="{FF2B5EF4-FFF2-40B4-BE49-F238E27FC236}">
                    <a16:creationId xmlns:a16="http://schemas.microsoft.com/office/drawing/2014/main" id="{8502A661-C6AA-4C8A-9100-23AF95424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5013" y="3792538"/>
                <a:ext cx="44450" cy="15875"/>
              </a:xfrm>
              <a:custGeom>
                <a:avLst/>
                <a:gdLst>
                  <a:gd name="T0" fmla="*/ 53 w 140"/>
                  <a:gd name="T1" fmla="*/ 46 h 51"/>
                  <a:gd name="T2" fmla="*/ 73 w 140"/>
                  <a:gd name="T3" fmla="*/ 30 h 51"/>
                  <a:gd name="T4" fmla="*/ 113 w 140"/>
                  <a:gd name="T5" fmla="*/ 16 h 51"/>
                  <a:gd name="T6" fmla="*/ 140 w 140"/>
                  <a:gd name="T7" fmla="*/ 13 h 51"/>
                  <a:gd name="T8" fmla="*/ 137 w 140"/>
                  <a:gd name="T9" fmla="*/ 0 h 51"/>
                  <a:gd name="T10" fmla="*/ 90 w 140"/>
                  <a:gd name="T11" fmla="*/ 6 h 51"/>
                  <a:gd name="T12" fmla="*/ 0 w 140"/>
                  <a:gd name="T13" fmla="*/ 28 h 51"/>
                  <a:gd name="T14" fmla="*/ 21 w 140"/>
                  <a:gd name="T15" fmla="*/ 51 h 51"/>
                  <a:gd name="T16" fmla="*/ 53 w 140"/>
                  <a:gd name="T17" fmla="*/ 4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0" h="51">
                    <a:moveTo>
                      <a:pt x="53" y="46"/>
                    </a:moveTo>
                    <a:lnTo>
                      <a:pt x="73" y="30"/>
                    </a:lnTo>
                    <a:lnTo>
                      <a:pt x="113" y="16"/>
                    </a:lnTo>
                    <a:lnTo>
                      <a:pt x="140" y="13"/>
                    </a:lnTo>
                    <a:lnTo>
                      <a:pt x="137" y="0"/>
                    </a:lnTo>
                    <a:lnTo>
                      <a:pt x="90" y="6"/>
                    </a:lnTo>
                    <a:lnTo>
                      <a:pt x="0" y="28"/>
                    </a:lnTo>
                    <a:lnTo>
                      <a:pt x="21" y="51"/>
                    </a:lnTo>
                    <a:lnTo>
                      <a:pt x="53" y="4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3" name="Freeform 285">
                <a:extLst>
                  <a:ext uri="{FF2B5EF4-FFF2-40B4-BE49-F238E27FC236}">
                    <a16:creationId xmlns:a16="http://schemas.microsoft.com/office/drawing/2014/main" id="{FD995F7C-3754-41F2-BD85-AE2842C2C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5813" y="3789363"/>
                <a:ext cx="42863" cy="9525"/>
              </a:xfrm>
              <a:custGeom>
                <a:avLst/>
                <a:gdLst>
                  <a:gd name="T0" fmla="*/ 83 w 136"/>
                  <a:gd name="T1" fmla="*/ 33 h 33"/>
                  <a:gd name="T2" fmla="*/ 136 w 136"/>
                  <a:gd name="T3" fmla="*/ 0 h 33"/>
                  <a:gd name="T4" fmla="*/ 109 w 136"/>
                  <a:gd name="T5" fmla="*/ 6 h 33"/>
                  <a:gd name="T6" fmla="*/ 67 w 136"/>
                  <a:gd name="T7" fmla="*/ 10 h 33"/>
                  <a:gd name="T8" fmla="*/ 17 w 136"/>
                  <a:gd name="T9" fmla="*/ 11 h 33"/>
                  <a:gd name="T10" fmla="*/ 0 w 136"/>
                  <a:gd name="T11" fmla="*/ 31 h 33"/>
                  <a:gd name="T12" fmla="*/ 40 w 136"/>
                  <a:gd name="T13" fmla="*/ 27 h 33"/>
                  <a:gd name="T14" fmla="*/ 83 w 136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33">
                    <a:moveTo>
                      <a:pt x="83" y="33"/>
                    </a:moveTo>
                    <a:lnTo>
                      <a:pt x="136" y="0"/>
                    </a:lnTo>
                    <a:lnTo>
                      <a:pt x="109" y="6"/>
                    </a:lnTo>
                    <a:lnTo>
                      <a:pt x="67" y="10"/>
                    </a:lnTo>
                    <a:lnTo>
                      <a:pt x="17" y="11"/>
                    </a:lnTo>
                    <a:lnTo>
                      <a:pt x="0" y="31"/>
                    </a:lnTo>
                    <a:lnTo>
                      <a:pt x="40" y="27"/>
                    </a:lnTo>
                    <a:lnTo>
                      <a:pt x="83" y="3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4" name="Freeform 286">
                <a:extLst>
                  <a:ext uri="{FF2B5EF4-FFF2-40B4-BE49-F238E27FC236}">
                    <a16:creationId xmlns:a16="http://schemas.microsoft.com/office/drawing/2014/main" id="{ECB4DC62-A781-4E97-95AB-0217A8A40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3438" y="3783013"/>
                <a:ext cx="23813" cy="12700"/>
              </a:xfrm>
              <a:custGeom>
                <a:avLst/>
                <a:gdLst>
                  <a:gd name="T0" fmla="*/ 74 w 74"/>
                  <a:gd name="T1" fmla="*/ 0 h 38"/>
                  <a:gd name="T2" fmla="*/ 17 w 74"/>
                  <a:gd name="T3" fmla="*/ 8 h 38"/>
                  <a:gd name="T4" fmla="*/ 0 w 74"/>
                  <a:gd name="T5" fmla="*/ 38 h 38"/>
                  <a:gd name="T6" fmla="*/ 44 w 74"/>
                  <a:gd name="T7" fmla="*/ 16 h 38"/>
                  <a:gd name="T8" fmla="*/ 74 w 7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38">
                    <a:moveTo>
                      <a:pt x="74" y="0"/>
                    </a:moveTo>
                    <a:lnTo>
                      <a:pt x="17" y="8"/>
                    </a:lnTo>
                    <a:lnTo>
                      <a:pt x="0" y="38"/>
                    </a:lnTo>
                    <a:lnTo>
                      <a:pt x="44" y="16"/>
                    </a:lnTo>
                    <a:lnTo>
                      <a:pt x="74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5" name="Freeform 287">
                <a:extLst>
                  <a:ext uri="{FF2B5EF4-FFF2-40B4-BE49-F238E27FC236}">
                    <a16:creationId xmlns:a16="http://schemas.microsoft.com/office/drawing/2014/main" id="{CA11E3C3-CAA8-44BB-9469-242D44233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338" y="3803650"/>
                <a:ext cx="381000" cy="407988"/>
              </a:xfrm>
              <a:custGeom>
                <a:avLst/>
                <a:gdLst>
                  <a:gd name="T0" fmla="*/ 1175 w 1201"/>
                  <a:gd name="T1" fmla="*/ 108 h 1285"/>
                  <a:gd name="T2" fmla="*/ 1128 w 1201"/>
                  <a:gd name="T3" fmla="*/ 68 h 1285"/>
                  <a:gd name="T4" fmla="*/ 1016 w 1201"/>
                  <a:gd name="T5" fmla="*/ 0 h 1285"/>
                  <a:gd name="T6" fmla="*/ 850 w 1201"/>
                  <a:gd name="T7" fmla="*/ 37 h 1285"/>
                  <a:gd name="T8" fmla="*/ 645 w 1201"/>
                  <a:gd name="T9" fmla="*/ 195 h 1285"/>
                  <a:gd name="T10" fmla="*/ 643 w 1201"/>
                  <a:gd name="T11" fmla="*/ 291 h 1285"/>
                  <a:gd name="T12" fmla="*/ 690 w 1201"/>
                  <a:gd name="T13" fmla="*/ 310 h 1285"/>
                  <a:gd name="T14" fmla="*/ 681 w 1201"/>
                  <a:gd name="T15" fmla="*/ 421 h 1285"/>
                  <a:gd name="T16" fmla="*/ 718 w 1201"/>
                  <a:gd name="T17" fmla="*/ 426 h 1285"/>
                  <a:gd name="T18" fmla="*/ 651 w 1201"/>
                  <a:gd name="T19" fmla="*/ 451 h 1285"/>
                  <a:gd name="T20" fmla="*/ 600 w 1201"/>
                  <a:gd name="T21" fmla="*/ 514 h 1285"/>
                  <a:gd name="T22" fmla="*/ 682 w 1201"/>
                  <a:gd name="T23" fmla="*/ 523 h 1285"/>
                  <a:gd name="T24" fmla="*/ 632 w 1201"/>
                  <a:gd name="T25" fmla="*/ 540 h 1285"/>
                  <a:gd name="T26" fmla="*/ 564 w 1201"/>
                  <a:gd name="T27" fmla="*/ 449 h 1285"/>
                  <a:gd name="T28" fmla="*/ 594 w 1201"/>
                  <a:gd name="T29" fmla="*/ 375 h 1285"/>
                  <a:gd name="T30" fmla="*/ 553 w 1201"/>
                  <a:gd name="T31" fmla="*/ 283 h 1285"/>
                  <a:gd name="T32" fmla="*/ 483 w 1201"/>
                  <a:gd name="T33" fmla="*/ 266 h 1285"/>
                  <a:gd name="T34" fmla="*/ 429 w 1201"/>
                  <a:gd name="T35" fmla="*/ 284 h 1285"/>
                  <a:gd name="T36" fmla="*/ 395 w 1201"/>
                  <a:gd name="T37" fmla="*/ 525 h 1285"/>
                  <a:gd name="T38" fmla="*/ 311 w 1201"/>
                  <a:gd name="T39" fmla="*/ 759 h 1285"/>
                  <a:gd name="T40" fmla="*/ 263 w 1201"/>
                  <a:gd name="T41" fmla="*/ 733 h 1285"/>
                  <a:gd name="T42" fmla="*/ 311 w 1201"/>
                  <a:gd name="T43" fmla="*/ 828 h 1285"/>
                  <a:gd name="T44" fmla="*/ 395 w 1201"/>
                  <a:gd name="T45" fmla="*/ 837 h 1285"/>
                  <a:gd name="T46" fmla="*/ 468 w 1201"/>
                  <a:gd name="T47" fmla="*/ 827 h 1285"/>
                  <a:gd name="T48" fmla="*/ 431 w 1201"/>
                  <a:gd name="T49" fmla="*/ 867 h 1285"/>
                  <a:gd name="T50" fmla="*/ 311 w 1201"/>
                  <a:gd name="T51" fmla="*/ 865 h 1285"/>
                  <a:gd name="T52" fmla="*/ 229 w 1201"/>
                  <a:gd name="T53" fmla="*/ 902 h 1285"/>
                  <a:gd name="T54" fmla="*/ 269 w 1201"/>
                  <a:gd name="T55" fmla="*/ 942 h 1285"/>
                  <a:gd name="T56" fmla="*/ 202 w 1201"/>
                  <a:gd name="T57" fmla="*/ 949 h 1285"/>
                  <a:gd name="T58" fmla="*/ 283 w 1201"/>
                  <a:gd name="T59" fmla="*/ 1021 h 1285"/>
                  <a:gd name="T60" fmla="*/ 203 w 1201"/>
                  <a:gd name="T61" fmla="*/ 999 h 1285"/>
                  <a:gd name="T62" fmla="*/ 174 w 1201"/>
                  <a:gd name="T63" fmla="*/ 945 h 1285"/>
                  <a:gd name="T64" fmla="*/ 187 w 1201"/>
                  <a:gd name="T65" fmla="*/ 921 h 1285"/>
                  <a:gd name="T66" fmla="*/ 199 w 1201"/>
                  <a:gd name="T67" fmla="*/ 902 h 1285"/>
                  <a:gd name="T68" fmla="*/ 154 w 1201"/>
                  <a:gd name="T69" fmla="*/ 860 h 1285"/>
                  <a:gd name="T70" fmla="*/ 216 w 1201"/>
                  <a:gd name="T71" fmla="*/ 871 h 1285"/>
                  <a:gd name="T72" fmla="*/ 260 w 1201"/>
                  <a:gd name="T73" fmla="*/ 882 h 1285"/>
                  <a:gd name="T74" fmla="*/ 281 w 1201"/>
                  <a:gd name="T75" fmla="*/ 808 h 1285"/>
                  <a:gd name="T76" fmla="*/ 221 w 1201"/>
                  <a:gd name="T77" fmla="*/ 796 h 1285"/>
                  <a:gd name="T78" fmla="*/ 145 w 1201"/>
                  <a:gd name="T79" fmla="*/ 873 h 1285"/>
                  <a:gd name="T80" fmla="*/ 83 w 1201"/>
                  <a:gd name="T81" fmla="*/ 927 h 1285"/>
                  <a:gd name="T82" fmla="*/ 139 w 1201"/>
                  <a:gd name="T83" fmla="*/ 980 h 1285"/>
                  <a:gd name="T84" fmla="*/ 168 w 1201"/>
                  <a:gd name="T85" fmla="*/ 1035 h 1285"/>
                  <a:gd name="T86" fmla="*/ 129 w 1201"/>
                  <a:gd name="T87" fmla="*/ 1009 h 1285"/>
                  <a:gd name="T88" fmla="*/ 56 w 1201"/>
                  <a:gd name="T89" fmla="*/ 1000 h 1285"/>
                  <a:gd name="T90" fmla="*/ 224 w 1201"/>
                  <a:gd name="T91" fmla="*/ 1125 h 1285"/>
                  <a:gd name="T92" fmla="*/ 556 w 1201"/>
                  <a:gd name="T93" fmla="*/ 1006 h 1285"/>
                  <a:gd name="T94" fmla="*/ 750 w 1201"/>
                  <a:gd name="T95" fmla="*/ 1047 h 1285"/>
                  <a:gd name="T96" fmla="*/ 691 w 1201"/>
                  <a:gd name="T97" fmla="*/ 1207 h 1285"/>
                  <a:gd name="T98" fmla="*/ 865 w 1201"/>
                  <a:gd name="T99" fmla="*/ 1272 h 1285"/>
                  <a:gd name="T100" fmla="*/ 896 w 1201"/>
                  <a:gd name="T101" fmla="*/ 1019 h 1285"/>
                  <a:gd name="T102" fmla="*/ 993 w 1201"/>
                  <a:gd name="T103" fmla="*/ 719 h 1285"/>
                  <a:gd name="T104" fmla="*/ 1108 w 1201"/>
                  <a:gd name="T105" fmla="*/ 463 h 1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01" h="1285">
                    <a:moveTo>
                      <a:pt x="1146" y="290"/>
                    </a:moveTo>
                    <a:lnTo>
                      <a:pt x="1201" y="113"/>
                    </a:lnTo>
                    <a:lnTo>
                      <a:pt x="1175" y="108"/>
                    </a:lnTo>
                    <a:lnTo>
                      <a:pt x="1161" y="84"/>
                    </a:lnTo>
                    <a:lnTo>
                      <a:pt x="1174" y="71"/>
                    </a:lnTo>
                    <a:lnTo>
                      <a:pt x="1128" y="68"/>
                    </a:lnTo>
                    <a:lnTo>
                      <a:pt x="1090" y="42"/>
                    </a:lnTo>
                    <a:lnTo>
                      <a:pt x="1060" y="8"/>
                    </a:lnTo>
                    <a:lnTo>
                      <a:pt x="1016" y="0"/>
                    </a:lnTo>
                    <a:lnTo>
                      <a:pt x="947" y="13"/>
                    </a:lnTo>
                    <a:lnTo>
                      <a:pt x="907" y="40"/>
                    </a:lnTo>
                    <a:lnTo>
                      <a:pt x="850" y="37"/>
                    </a:lnTo>
                    <a:lnTo>
                      <a:pt x="753" y="51"/>
                    </a:lnTo>
                    <a:lnTo>
                      <a:pt x="684" y="102"/>
                    </a:lnTo>
                    <a:lnTo>
                      <a:pt x="645" y="195"/>
                    </a:lnTo>
                    <a:lnTo>
                      <a:pt x="633" y="265"/>
                    </a:lnTo>
                    <a:lnTo>
                      <a:pt x="623" y="275"/>
                    </a:lnTo>
                    <a:lnTo>
                      <a:pt x="643" y="291"/>
                    </a:lnTo>
                    <a:lnTo>
                      <a:pt x="707" y="297"/>
                    </a:lnTo>
                    <a:lnTo>
                      <a:pt x="730" y="307"/>
                    </a:lnTo>
                    <a:lnTo>
                      <a:pt x="690" y="310"/>
                    </a:lnTo>
                    <a:lnTo>
                      <a:pt x="667" y="371"/>
                    </a:lnTo>
                    <a:lnTo>
                      <a:pt x="661" y="401"/>
                    </a:lnTo>
                    <a:lnTo>
                      <a:pt x="681" y="421"/>
                    </a:lnTo>
                    <a:lnTo>
                      <a:pt x="708" y="421"/>
                    </a:lnTo>
                    <a:lnTo>
                      <a:pt x="743" y="413"/>
                    </a:lnTo>
                    <a:lnTo>
                      <a:pt x="718" y="426"/>
                    </a:lnTo>
                    <a:lnTo>
                      <a:pt x="728" y="454"/>
                    </a:lnTo>
                    <a:lnTo>
                      <a:pt x="678" y="434"/>
                    </a:lnTo>
                    <a:lnTo>
                      <a:pt x="651" y="451"/>
                    </a:lnTo>
                    <a:lnTo>
                      <a:pt x="631" y="464"/>
                    </a:lnTo>
                    <a:lnTo>
                      <a:pt x="581" y="474"/>
                    </a:lnTo>
                    <a:lnTo>
                      <a:pt x="600" y="514"/>
                    </a:lnTo>
                    <a:lnTo>
                      <a:pt x="619" y="528"/>
                    </a:lnTo>
                    <a:lnTo>
                      <a:pt x="655" y="533"/>
                    </a:lnTo>
                    <a:lnTo>
                      <a:pt x="682" y="523"/>
                    </a:lnTo>
                    <a:lnTo>
                      <a:pt x="728" y="460"/>
                    </a:lnTo>
                    <a:lnTo>
                      <a:pt x="689" y="533"/>
                    </a:lnTo>
                    <a:lnTo>
                      <a:pt x="632" y="540"/>
                    </a:lnTo>
                    <a:lnTo>
                      <a:pt x="572" y="504"/>
                    </a:lnTo>
                    <a:lnTo>
                      <a:pt x="557" y="474"/>
                    </a:lnTo>
                    <a:lnTo>
                      <a:pt x="564" y="449"/>
                    </a:lnTo>
                    <a:lnTo>
                      <a:pt x="531" y="418"/>
                    </a:lnTo>
                    <a:lnTo>
                      <a:pt x="564" y="378"/>
                    </a:lnTo>
                    <a:lnTo>
                      <a:pt x="594" y="375"/>
                    </a:lnTo>
                    <a:lnTo>
                      <a:pt x="610" y="325"/>
                    </a:lnTo>
                    <a:lnTo>
                      <a:pt x="560" y="301"/>
                    </a:lnTo>
                    <a:lnTo>
                      <a:pt x="553" y="283"/>
                    </a:lnTo>
                    <a:lnTo>
                      <a:pt x="546" y="259"/>
                    </a:lnTo>
                    <a:lnTo>
                      <a:pt x="506" y="273"/>
                    </a:lnTo>
                    <a:lnTo>
                      <a:pt x="483" y="266"/>
                    </a:lnTo>
                    <a:lnTo>
                      <a:pt x="479" y="244"/>
                    </a:lnTo>
                    <a:lnTo>
                      <a:pt x="446" y="244"/>
                    </a:lnTo>
                    <a:lnTo>
                      <a:pt x="429" y="284"/>
                    </a:lnTo>
                    <a:lnTo>
                      <a:pt x="407" y="336"/>
                    </a:lnTo>
                    <a:lnTo>
                      <a:pt x="417" y="420"/>
                    </a:lnTo>
                    <a:lnTo>
                      <a:pt x="395" y="525"/>
                    </a:lnTo>
                    <a:lnTo>
                      <a:pt x="300" y="646"/>
                    </a:lnTo>
                    <a:lnTo>
                      <a:pt x="267" y="716"/>
                    </a:lnTo>
                    <a:lnTo>
                      <a:pt x="311" y="759"/>
                    </a:lnTo>
                    <a:lnTo>
                      <a:pt x="384" y="752"/>
                    </a:lnTo>
                    <a:lnTo>
                      <a:pt x="314" y="773"/>
                    </a:lnTo>
                    <a:lnTo>
                      <a:pt x="263" y="733"/>
                    </a:lnTo>
                    <a:lnTo>
                      <a:pt x="228" y="766"/>
                    </a:lnTo>
                    <a:lnTo>
                      <a:pt x="274" y="803"/>
                    </a:lnTo>
                    <a:lnTo>
                      <a:pt x="311" y="828"/>
                    </a:lnTo>
                    <a:lnTo>
                      <a:pt x="345" y="845"/>
                    </a:lnTo>
                    <a:lnTo>
                      <a:pt x="375" y="845"/>
                    </a:lnTo>
                    <a:lnTo>
                      <a:pt x="395" y="837"/>
                    </a:lnTo>
                    <a:lnTo>
                      <a:pt x="428" y="807"/>
                    </a:lnTo>
                    <a:lnTo>
                      <a:pt x="411" y="844"/>
                    </a:lnTo>
                    <a:lnTo>
                      <a:pt x="468" y="827"/>
                    </a:lnTo>
                    <a:lnTo>
                      <a:pt x="441" y="851"/>
                    </a:lnTo>
                    <a:lnTo>
                      <a:pt x="478" y="851"/>
                    </a:lnTo>
                    <a:lnTo>
                      <a:pt x="431" y="867"/>
                    </a:lnTo>
                    <a:lnTo>
                      <a:pt x="391" y="847"/>
                    </a:lnTo>
                    <a:lnTo>
                      <a:pt x="334" y="865"/>
                    </a:lnTo>
                    <a:lnTo>
                      <a:pt x="311" y="865"/>
                    </a:lnTo>
                    <a:lnTo>
                      <a:pt x="279" y="889"/>
                    </a:lnTo>
                    <a:lnTo>
                      <a:pt x="265" y="912"/>
                    </a:lnTo>
                    <a:lnTo>
                      <a:pt x="229" y="902"/>
                    </a:lnTo>
                    <a:lnTo>
                      <a:pt x="205" y="915"/>
                    </a:lnTo>
                    <a:lnTo>
                      <a:pt x="219" y="935"/>
                    </a:lnTo>
                    <a:lnTo>
                      <a:pt x="269" y="942"/>
                    </a:lnTo>
                    <a:lnTo>
                      <a:pt x="265" y="955"/>
                    </a:lnTo>
                    <a:lnTo>
                      <a:pt x="235" y="949"/>
                    </a:lnTo>
                    <a:lnTo>
                      <a:pt x="202" y="949"/>
                    </a:lnTo>
                    <a:lnTo>
                      <a:pt x="190" y="969"/>
                    </a:lnTo>
                    <a:lnTo>
                      <a:pt x="279" y="988"/>
                    </a:lnTo>
                    <a:lnTo>
                      <a:pt x="283" y="1021"/>
                    </a:lnTo>
                    <a:lnTo>
                      <a:pt x="273" y="1018"/>
                    </a:lnTo>
                    <a:lnTo>
                      <a:pt x="220" y="1002"/>
                    </a:lnTo>
                    <a:lnTo>
                      <a:pt x="203" y="999"/>
                    </a:lnTo>
                    <a:lnTo>
                      <a:pt x="193" y="1009"/>
                    </a:lnTo>
                    <a:lnTo>
                      <a:pt x="177" y="968"/>
                    </a:lnTo>
                    <a:lnTo>
                      <a:pt x="174" y="945"/>
                    </a:lnTo>
                    <a:lnTo>
                      <a:pt x="124" y="925"/>
                    </a:lnTo>
                    <a:lnTo>
                      <a:pt x="148" y="899"/>
                    </a:lnTo>
                    <a:lnTo>
                      <a:pt x="187" y="921"/>
                    </a:lnTo>
                    <a:lnTo>
                      <a:pt x="183" y="939"/>
                    </a:lnTo>
                    <a:lnTo>
                      <a:pt x="197" y="925"/>
                    </a:lnTo>
                    <a:lnTo>
                      <a:pt x="199" y="902"/>
                    </a:lnTo>
                    <a:lnTo>
                      <a:pt x="216" y="878"/>
                    </a:lnTo>
                    <a:lnTo>
                      <a:pt x="196" y="891"/>
                    </a:lnTo>
                    <a:lnTo>
                      <a:pt x="154" y="860"/>
                    </a:lnTo>
                    <a:lnTo>
                      <a:pt x="163" y="837"/>
                    </a:lnTo>
                    <a:lnTo>
                      <a:pt x="201" y="824"/>
                    </a:lnTo>
                    <a:lnTo>
                      <a:pt x="216" y="871"/>
                    </a:lnTo>
                    <a:lnTo>
                      <a:pt x="239" y="891"/>
                    </a:lnTo>
                    <a:lnTo>
                      <a:pt x="246" y="891"/>
                    </a:lnTo>
                    <a:lnTo>
                      <a:pt x="260" y="882"/>
                    </a:lnTo>
                    <a:lnTo>
                      <a:pt x="267" y="853"/>
                    </a:lnTo>
                    <a:lnTo>
                      <a:pt x="263" y="831"/>
                    </a:lnTo>
                    <a:lnTo>
                      <a:pt x="281" y="808"/>
                    </a:lnTo>
                    <a:lnTo>
                      <a:pt x="274" y="803"/>
                    </a:lnTo>
                    <a:lnTo>
                      <a:pt x="254" y="823"/>
                    </a:lnTo>
                    <a:lnTo>
                      <a:pt x="221" y="796"/>
                    </a:lnTo>
                    <a:lnTo>
                      <a:pt x="171" y="816"/>
                    </a:lnTo>
                    <a:lnTo>
                      <a:pt x="142" y="843"/>
                    </a:lnTo>
                    <a:lnTo>
                      <a:pt x="145" y="873"/>
                    </a:lnTo>
                    <a:lnTo>
                      <a:pt x="142" y="896"/>
                    </a:lnTo>
                    <a:lnTo>
                      <a:pt x="112" y="913"/>
                    </a:lnTo>
                    <a:lnTo>
                      <a:pt x="83" y="927"/>
                    </a:lnTo>
                    <a:lnTo>
                      <a:pt x="79" y="950"/>
                    </a:lnTo>
                    <a:lnTo>
                      <a:pt x="109" y="987"/>
                    </a:lnTo>
                    <a:lnTo>
                      <a:pt x="139" y="980"/>
                    </a:lnTo>
                    <a:lnTo>
                      <a:pt x="151" y="980"/>
                    </a:lnTo>
                    <a:lnTo>
                      <a:pt x="185" y="1021"/>
                    </a:lnTo>
                    <a:lnTo>
                      <a:pt x="168" y="1035"/>
                    </a:lnTo>
                    <a:lnTo>
                      <a:pt x="139" y="1035"/>
                    </a:lnTo>
                    <a:lnTo>
                      <a:pt x="147" y="1007"/>
                    </a:lnTo>
                    <a:lnTo>
                      <a:pt x="129" y="1009"/>
                    </a:lnTo>
                    <a:lnTo>
                      <a:pt x="118" y="1012"/>
                    </a:lnTo>
                    <a:lnTo>
                      <a:pt x="92" y="994"/>
                    </a:lnTo>
                    <a:lnTo>
                      <a:pt x="56" y="1000"/>
                    </a:lnTo>
                    <a:lnTo>
                      <a:pt x="0" y="1033"/>
                    </a:lnTo>
                    <a:lnTo>
                      <a:pt x="137" y="1126"/>
                    </a:lnTo>
                    <a:lnTo>
                      <a:pt x="224" y="1125"/>
                    </a:lnTo>
                    <a:lnTo>
                      <a:pt x="327" y="1074"/>
                    </a:lnTo>
                    <a:lnTo>
                      <a:pt x="406" y="1000"/>
                    </a:lnTo>
                    <a:lnTo>
                      <a:pt x="556" y="1006"/>
                    </a:lnTo>
                    <a:lnTo>
                      <a:pt x="613" y="1038"/>
                    </a:lnTo>
                    <a:lnTo>
                      <a:pt x="703" y="1035"/>
                    </a:lnTo>
                    <a:lnTo>
                      <a:pt x="750" y="1047"/>
                    </a:lnTo>
                    <a:lnTo>
                      <a:pt x="777" y="1104"/>
                    </a:lnTo>
                    <a:lnTo>
                      <a:pt x="748" y="1160"/>
                    </a:lnTo>
                    <a:lnTo>
                      <a:pt x="691" y="1207"/>
                    </a:lnTo>
                    <a:lnTo>
                      <a:pt x="719" y="1266"/>
                    </a:lnTo>
                    <a:lnTo>
                      <a:pt x="779" y="1285"/>
                    </a:lnTo>
                    <a:lnTo>
                      <a:pt x="865" y="1272"/>
                    </a:lnTo>
                    <a:lnTo>
                      <a:pt x="828" y="1222"/>
                    </a:lnTo>
                    <a:lnTo>
                      <a:pt x="840" y="1126"/>
                    </a:lnTo>
                    <a:lnTo>
                      <a:pt x="896" y="1019"/>
                    </a:lnTo>
                    <a:lnTo>
                      <a:pt x="851" y="903"/>
                    </a:lnTo>
                    <a:lnTo>
                      <a:pt x="850" y="774"/>
                    </a:lnTo>
                    <a:lnTo>
                      <a:pt x="993" y="719"/>
                    </a:lnTo>
                    <a:lnTo>
                      <a:pt x="1079" y="639"/>
                    </a:lnTo>
                    <a:lnTo>
                      <a:pt x="1139" y="549"/>
                    </a:lnTo>
                    <a:lnTo>
                      <a:pt x="1108" y="463"/>
                    </a:lnTo>
                    <a:lnTo>
                      <a:pt x="1153" y="420"/>
                    </a:lnTo>
                    <a:lnTo>
                      <a:pt x="1146" y="29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A8DC5DC-9117-4052-88FF-88C5BE455003}"/>
                </a:ext>
              </a:extLst>
            </p:cNvPr>
            <p:cNvGrpSpPr/>
            <p:nvPr/>
          </p:nvGrpSpPr>
          <p:grpSpPr>
            <a:xfrm>
              <a:off x="4881563" y="3962400"/>
              <a:ext cx="1738313" cy="1152525"/>
              <a:chOff x="4881563" y="3962400"/>
              <a:chExt cx="1738313" cy="1152525"/>
            </a:xfrm>
            <a:solidFill>
              <a:sysClr val="window" lastClr="FFFFFF">
                <a:lumMod val="75000"/>
              </a:sysClr>
            </a:solidFill>
          </p:grpSpPr>
          <p:sp>
            <p:nvSpPr>
              <p:cNvPr id="106" name="Freeform 288">
                <a:extLst>
                  <a:ext uri="{FF2B5EF4-FFF2-40B4-BE49-F238E27FC236}">
                    <a16:creationId xmlns:a16="http://schemas.microsoft.com/office/drawing/2014/main" id="{FB1B3CF8-CABC-4B9A-AF26-34B4AFEB38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9963" y="4868863"/>
                <a:ext cx="7938" cy="11113"/>
              </a:xfrm>
              <a:custGeom>
                <a:avLst/>
                <a:gdLst>
                  <a:gd name="T0" fmla="*/ 13 w 23"/>
                  <a:gd name="T1" fmla="*/ 0 h 34"/>
                  <a:gd name="T2" fmla="*/ 23 w 23"/>
                  <a:gd name="T3" fmla="*/ 20 h 34"/>
                  <a:gd name="T4" fmla="*/ 20 w 23"/>
                  <a:gd name="T5" fmla="*/ 34 h 34"/>
                  <a:gd name="T6" fmla="*/ 0 w 23"/>
                  <a:gd name="T7" fmla="*/ 10 h 34"/>
                  <a:gd name="T8" fmla="*/ 13 w 23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4">
                    <a:moveTo>
                      <a:pt x="13" y="0"/>
                    </a:moveTo>
                    <a:lnTo>
                      <a:pt x="23" y="20"/>
                    </a:lnTo>
                    <a:lnTo>
                      <a:pt x="20" y="34"/>
                    </a:lnTo>
                    <a:lnTo>
                      <a:pt x="0" y="1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7" name="Freeform 289">
                <a:extLst>
                  <a:ext uri="{FF2B5EF4-FFF2-40B4-BE49-F238E27FC236}">
                    <a16:creationId xmlns:a16="http://schemas.microsoft.com/office/drawing/2014/main" id="{EB2A47E1-FEC0-4213-B969-1335E6D0D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513" y="4841875"/>
                <a:ext cx="25400" cy="34925"/>
              </a:xfrm>
              <a:custGeom>
                <a:avLst/>
                <a:gdLst>
                  <a:gd name="T0" fmla="*/ 10 w 80"/>
                  <a:gd name="T1" fmla="*/ 57 h 111"/>
                  <a:gd name="T2" fmla="*/ 0 w 80"/>
                  <a:gd name="T3" fmla="*/ 80 h 111"/>
                  <a:gd name="T4" fmla="*/ 34 w 80"/>
                  <a:gd name="T5" fmla="*/ 111 h 111"/>
                  <a:gd name="T6" fmla="*/ 54 w 80"/>
                  <a:gd name="T7" fmla="*/ 40 h 111"/>
                  <a:gd name="T8" fmla="*/ 80 w 80"/>
                  <a:gd name="T9" fmla="*/ 0 h 111"/>
                  <a:gd name="T10" fmla="*/ 61 w 80"/>
                  <a:gd name="T11" fmla="*/ 17 h 111"/>
                  <a:gd name="T12" fmla="*/ 10 w 80"/>
                  <a:gd name="T13" fmla="*/ 5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111">
                    <a:moveTo>
                      <a:pt x="10" y="57"/>
                    </a:moveTo>
                    <a:lnTo>
                      <a:pt x="0" y="80"/>
                    </a:lnTo>
                    <a:lnTo>
                      <a:pt x="34" y="111"/>
                    </a:lnTo>
                    <a:lnTo>
                      <a:pt x="54" y="40"/>
                    </a:lnTo>
                    <a:lnTo>
                      <a:pt x="80" y="0"/>
                    </a:lnTo>
                    <a:lnTo>
                      <a:pt x="61" y="17"/>
                    </a:lnTo>
                    <a:lnTo>
                      <a:pt x="10" y="5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8" name="Freeform 290">
                <a:extLst>
                  <a:ext uri="{FF2B5EF4-FFF2-40B4-BE49-F238E27FC236}">
                    <a16:creationId xmlns:a16="http://schemas.microsoft.com/office/drawing/2014/main" id="{085641A2-2E7D-4BA5-A9D8-425041BDC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4811713"/>
                <a:ext cx="12700" cy="9525"/>
              </a:xfrm>
              <a:custGeom>
                <a:avLst/>
                <a:gdLst>
                  <a:gd name="T0" fmla="*/ 0 w 44"/>
                  <a:gd name="T1" fmla="*/ 31 h 31"/>
                  <a:gd name="T2" fmla="*/ 44 w 44"/>
                  <a:gd name="T3" fmla="*/ 0 h 31"/>
                  <a:gd name="T4" fmla="*/ 10 w 44"/>
                  <a:gd name="T5" fmla="*/ 4 h 31"/>
                  <a:gd name="T6" fmla="*/ 0 w 44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31">
                    <a:moveTo>
                      <a:pt x="0" y="31"/>
                    </a:moveTo>
                    <a:lnTo>
                      <a:pt x="44" y="0"/>
                    </a:lnTo>
                    <a:lnTo>
                      <a:pt x="10" y="4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9" name="Freeform 291">
                <a:extLst>
                  <a:ext uri="{FF2B5EF4-FFF2-40B4-BE49-F238E27FC236}">
                    <a16:creationId xmlns:a16="http://schemas.microsoft.com/office/drawing/2014/main" id="{BA642761-7308-4371-925C-BE3A9D0C5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563" y="3962400"/>
                <a:ext cx="1738313" cy="1152525"/>
              </a:xfrm>
              <a:custGeom>
                <a:avLst/>
                <a:gdLst>
                  <a:gd name="T0" fmla="*/ 5418 w 5475"/>
                  <a:gd name="T1" fmla="*/ 1781 h 3626"/>
                  <a:gd name="T2" fmla="*/ 4841 w 5475"/>
                  <a:gd name="T3" fmla="*/ 2440 h 3626"/>
                  <a:gd name="T4" fmla="*/ 4599 w 5475"/>
                  <a:gd name="T5" fmla="*/ 2492 h 3626"/>
                  <a:gd name="T6" fmla="*/ 4313 w 5475"/>
                  <a:gd name="T7" fmla="*/ 2615 h 3626"/>
                  <a:gd name="T8" fmla="*/ 4024 w 5475"/>
                  <a:gd name="T9" fmla="*/ 2733 h 3626"/>
                  <a:gd name="T10" fmla="*/ 3974 w 5475"/>
                  <a:gd name="T11" fmla="*/ 2754 h 3626"/>
                  <a:gd name="T12" fmla="*/ 3845 w 5475"/>
                  <a:gd name="T13" fmla="*/ 2841 h 3626"/>
                  <a:gd name="T14" fmla="*/ 3769 w 5475"/>
                  <a:gd name="T15" fmla="*/ 2862 h 3626"/>
                  <a:gd name="T16" fmla="*/ 3589 w 5475"/>
                  <a:gd name="T17" fmla="*/ 2836 h 3626"/>
                  <a:gd name="T18" fmla="*/ 3626 w 5475"/>
                  <a:gd name="T19" fmla="*/ 2916 h 3626"/>
                  <a:gd name="T20" fmla="*/ 3777 w 5475"/>
                  <a:gd name="T21" fmla="*/ 2961 h 3626"/>
                  <a:gd name="T22" fmla="*/ 3884 w 5475"/>
                  <a:gd name="T23" fmla="*/ 3053 h 3626"/>
                  <a:gd name="T24" fmla="*/ 3947 w 5475"/>
                  <a:gd name="T25" fmla="*/ 3049 h 3626"/>
                  <a:gd name="T26" fmla="*/ 3863 w 5475"/>
                  <a:gd name="T27" fmla="*/ 2854 h 3626"/>
                  <a:gd name="T28" fmla="*/ 4185 w 5475"/>
                  <a:gd name="T29" fmla="*/ 3133 h 3626"/>
                  <a:gd name="T30" fmla="*/ 4401 w 5475"/>
                  <a:gd name="T31" fmla="*/ 3191 h 3626"/>
                  <a:gd name="T32" fmla="*/ 4217 w 5475"/>
                  <a:gd name="T33" fmla="*/ 3336 h 3626"/>
                  <a:gd name="T34" fmla="*/ 3887 w 5475"/>
                  <a:gd name="T35" fmla="*/ 3421 h 3626"/>
                  <a:gd name="T36" fmla="*/ 3412 w 5475"/>
                  <a:gd name="T37" fmla="*/ 3568 h 3626"/>
                  <a:gd name="T38" fmla="*/ 3389 w 5475"/>
                  <a:gd name="T39" fmla="*/ 3287 h 3626"/>
                  <a:gd name="T40" fmla="*/ 3158 w 5475"/>
                  <a:gd name="T41" fmla="*/ 3173 h 3626"/>
                  <a:gd name="T42" fmla="*/ 3516 w 5475"/>
                  <a:gd name="T43" fmla="*/ 2977 h 3626"/>
                  <a:gd name="T44" fmla="*/ 3478 w 5475"/>
                  <a:gd name="T45" fmla="*/ 2817 h 3626"/>
                  <a:gd name="T46" fmla="*/ 3369 w 5475"/>
                  <a:gd name="T47" fmla="*/ 2879 h 3626"/>
                  <a:gd name="T48" fmla="*/ 3203 w 5475"/>
                  <a:gd name="T49" fmla="*/ 2883 h 3626"/>
                  <a:gd name="T50" fmla="*/ 2902 w 5475"/>
                  <a:gd name="T51" fmla="*/ 2823 h 3626"/>
                  <a:gd name="T52" fmla="*/ 2946 w 5475"/>
                  <a:gd name="T53" fmla="*/ 2839 h 3626"/>
                  <a:gd name="T54" fmla="*/ 2871 w 5475"/>
                  <a:gd name="T55" fmla="*/ 2694 h 3626"/>
                  <a:gd name="T56" fmla="*/ 3246 w 5475"/>
                  <a:gd name="T57" fmla="*/ 2594 h 3626"/>
                  <a:gd name="T58" fmla="*/ 3002 w 5475"/>
                  <a:gd name="T59" fmla="*/ 2547 h 3626"/>
                  <a:gd name="T60" fmla="*/ 2973 w 5475"/>
                  <a:gd name="T61" fmla="*/ 2633 h 3626"/>
                  <a:gd name="T62" fmla="*/ 2853 w 5475"/>
                  <a:gd name="T63" fmla="*/ 2598 h 3626"/>
                  <a:gd name="T64" fmla="*/ 2635 w 5475"/>
                  <a:gd name="T65" fmla="*/ 2703 h 3626"/>
                  <a:gd name="T66" fmla="*/ 2566 w 5475"/>
                  <a:gd name="T67" fmla="*/ 2855 h 3626"/>
                  <a:gd name="T68" fmla="*/ 2442 w 5475"/>
                  <a:gd name="T69" fmla="*/ 2824 h 3626"/>
                  <a:gd name="T70" fmla="*/ 2454 w 5475"/>
                  <a:gd name="T71" fmla="*/ 3009 h 3626"/>
                  <a:gd name="T72" fmla="*/ 2287 w 5475"/>
                  <a:gd name="T73" fmla="*/ 3035 h 3626"/>
                  <a:gd name="T74" fmla="*/ 2292 w 5475"/>
                  <a:gd name="T75" fmla="*/ 3161 h 3626"/>
                  <a:gd name="T76" fmla="*/ 1816 w 5475"/>
                  <a:gd name="T77" fmla="*/ 3088 h 3626"/>
                  <a:gd name="T78" fmla="*/ 2284 w 5475"/>
                  <a:gd name="T79" fmla="*/ 2704 h 3626"/>
                  <a:gd name="T80" fmla="*/ 2245 w 5475"/>
                  <a:gd name="T81" fmla="*/ 2372 h 3626"/>
                  <a:gd name="T82" fmla="*/ 1436 w 5475"/>
                  <a:gd name="T83" fmla="*/ 1888 h 3626"/>
                  <a:gd name="T84" fmla="*/ 683 w 5475"/>
                  <a:gd name="T85" fmla="*/ 2090 h 3626"/>
                  <a:gd name="T86" fmla="*/ 95 w 5475"/>
                  <a:gd name="T87" fmla="*/ 1969 h 3626"/>
                  <a:gd name="T88" fmla="*/ 500 w 5475"/>
                  <a:gd name="T89" fmla="*/ 1007 h 3626"/>
                  <a:gd name="T90" fmla="*/ 528 w 5475"/>
                  <a:gd name="T91" fmla="*/ 412 h 3626"/>
                  <a:gd name="T92" fmla="*/ 1213 w 5475"/>
                  <a:gd name="T93" fmla="*/ 263 h 3626"/>
                  <a:gd name="T94" fmla="*/ 2000 w 5475"/>
                  <a:gd name="T95" fmla="*/ 389 h 3626"/>
                  <a:gd name="T96" fmla="*/ 2357 w 5475"/>
                  <a:gd name="T97" fmla="*/ 422 h 3626"/>
                  <a:gd name="T98" fmla="*/ 2677 w 5475"/>
                  <a:gd name="T99" fmla="*/ 110 h 3626"/>
                  <a:gd name="T100" fmla="*/ 3243 w 5475"/>
                  <a:gd name="T101" fmla="*/ 42 h 3626"/>
                  <a:gd name="T102" fmla="*/ 3927 w 5475"/>
                  <a:gd name="T103" fmla="*/ 493 h 3626"/>
                  <a:gd name="T104" fmla="*/ 4244 w 5475"/>
                  <a:gd name="T105" fmla="*/ 872 h 3626"/>
                  <a:gd name="T106" fmla="*/ 4892 w 5475"/>
                  <a:gd name="T107" fmla="*/ 1066 h 3626"/>
                  <a:gd name="T108" fmla="*/ 5475 w 5475"/>
                  <a:gd name="T109" fmla="*/ 1332 h 3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475" h="3626">
                    <a:moveTo>
                      <a:pt x="5344" y="1556"/>
                    </a:moveTo>
                    <a:lnTo>
                      <a:pt x="5320" y="1563"/>
                    </a:lnTo>
                    <a:lnTo>
                      <a:pt x="5360" y="1619"/>
                    </a:lnTo>
                    <a:lnTo>
                      <a:pt x="5447" y="1602"/>
                    </a:lnTo>
                    <a:lnTo>
                      <a:pt x="5440" y="1645"/>
                    </a:lnTo>
                    <a:lnTo>
                      <a:pt x="5368" y="1702"/>
                    </a:lnTo>
                    <a:lnTo>
                      <a:pt x="5418" y="1781"/>
                    </a:lnTo>
                    <a:lnTo>
                      <a:pt x="5424" y="1917"/>
                    </a:lnTo>
                    <a:lnTo>
                      <a:pt x="5344" y="1977"/>
                    </a:lnTo>
                    <a:lnTo>
                      <a:pt x="5305" y="2068"/>
                    </a:lnTo>
                    <a:lnTo>
                      <a:pt x="5058" y="2100"/>
                    </a:lnTo>
                    <a:lnTo>
                      <a:pt x="4913" y="2260"/>
                    </a:lnTo>
                    <a:lnTo>
                      <a:pt x="4891" y="2393"/>
                    </a:lnTo>
                    <a:lnTo>
                      <a:pt x="4841" y="2440"/>
                    </a:lnTo>
                    <a:lnTo>
                      <a:pt x="4824" y="2441"/>
                    </a:lnTo>
                    <a:lnTo>
                      <a:pt x="4838" y="2411"/>
                    </a:lnTo>
                    <a:lnTo>
                      <a:pt x="4747" y="2397"/>
                    </a:lnTo>
                    <a:lnTo>
                      <a:pt x="4662" y="2442"/>
                    </a:lnTo>
                    <a:lnTo>
                      <a:pt x="4635" y="2485"/>
                    </a:lnTo>
                    <a:lnTo>
                      <a:pt x="4613" y="2499"/>
                    </a:lnTo>
                    <a:lnTo>
                      <a:pt x="4599" y="2492"/>
                    </a:lnTo>
                    <a:lnTo>
                      <a:pt x="4499" y="2530"/>
                    </a:lnTo>
                    <a:lnTo>
                      <a:pt x="4463" y="2597"/>
                    </a:lnTo>
                    <a:lnTo>
                      <a:pt x="4430" y="2617"/>
                    </a:lnTo>
                    <a:lnTo>
                      <a:pt x="4410" y="2577"/>
                    </a:lnTo>
                    <a:lnTo>
                      <a:pt x="4366" y="2571"/>
                    </a:lnTo>
                    <a:lnTo>
                      <a:pt x="4326" y="2578"/>
                    </a:lnTo>
                    <a:lnTo>
                      <a:pt x="4313" y="2615"/>
                    </a:lnTo>
                    <a:lnTo>
                      <a:pt x="4304" y="2654"/>
                    </a:lnTo>
                    <a:lnTo>
                      <a:pt x="4264" y="2662"/>
                    </a:lnTo>
                    <a:lnTo>
                      <a:pt x="4264" y="2641"/>
                    </a:lnTo>
                    <a:lnTo>
                      <a:pt x="4214" y="2618"/>
                    </a:lnTo>
                    <a:lnTo>
                      <a:pt x="4167" y="2675"/>
                    </a:lnTo>
                    <a:lnTo>
                      <a:pt x="4101" y="2709"/>
                    </a:lnTo>
                    <a:lnTo>
                      <a:pt x="4024" y="2733"/>
                    </a:lnTo>
                    <a:lnTo>
                      <a:pt x="4008" y="2714"/>
                    </a:lnTo>
                    <a:lnTo>
                      <a:pt x="3993" y="2630"/>
                    </a:lnTo>
                    <a:lnTo>
                      <a:pt x="3977" y="2660"/>
                    </a:lnTo>
                    <a:lnTo>
                      <a:pt x="3991" y="2746"/>
                    </a:lnTo>
                    <a:lnTo>
                      <a:pt x="4011" y="2750"/>
                    </a:lnTo>
                    <a:lnTo>
                      <a:pt x="3982" y="2770"/>
                    </a:lnTo>
                    <a:lnTo>
                      <a:pt x="3974" y="2754"/>
                    </a:lnTo>
                    <a:lnTo>
                      <a:pt x="3971" y="2724"/>
                    </a:lnTo>
                    <a:lnTo>
                      <a:pt x="3954" y="2701"/>
                    </a:lnTo>
                    <a:lnTo>
                      <a:pt x="3938" y="2757"/>
                    </a:lnTo>
                    <a:lnTo>
                      <a:pt x="3952" y="2764"/>
                    </a:lnTo>
                    <a:lnTo>
                      <a:pt x="3908" y="2807"/>
                    </a:lnTo>
                    <a:lnTo>
                      <a:pt x="3862" y="2828"/>
                    </a:lnTo>
                    <a:lnTo>
                      <a:pt x="3845" y="2841"/>
                    </a:lnTo>
                    <a:lnTo>
                      <a:pt x="3809" y="2848"/>
                    </a:lnTo>
                    <a:lnTo>
                      <a:pt x="3796" y="2908"/>
                    </a:lnTo>
                    <a:lnTo>
                      <a:pt x="3769" y="2924"/>
                    </a:lnTo>
                    <a:lnTo>
                      <a:pt x="3749" y="2914"/>
                    </a:lnTo>
                    <a:lnTo>
                      <a:pt x="3739" y="2889"/>
                    </a:lnTo>
                    <a:lnTo>
                      <a:pt x="3769" y="2874"/>
                    </a:lnTo>
                    <a:lnTo>
                      <a:pt x="3769" y="2862"/>
                    </a:lnTo>
                    <a:lnTo>
                      <a:pt x="3739" y="2879"/>
                    </a:lnTo>
                    <a:lnTo>
                      <a:pt x="3699" y="2832"/>
                    </a:lnTo>
                    <a:lnTo>
                      <a:pt x="3665" y="2836"/>
                    </a:lnTo>
                    <a:lnTo>
                      <a:pt x="3655" y="2862"/>
                    </a:lnTo>
                    <a:lnTo>
                      <a:pt x="3629" y="2840"/>
                    </a:lnTo>
                    <a:lnTo>
                      <a:pt x="3605" y="2877"/>
                    </a:lnTo>
                    <a:lnTo>
                      <a:pt x="3589" y="2836"/>
                    </a:lnTo>
                    <a:lnTo>
                      <a:pt x="3565" y="2807"/>
                    </a:lnTo>
                    <a:lnTo>
                      <a:pt x="3522" y="2781"/>
                    </a:lnTo>
                    <a:lnTo>
                      <a:pt x="3512" y="2841"/>
                    </a:lnTo>
                    <a:lnTo>
                      <a:pt x="3536" y="2870"/>
                    </a:lnTo>
                    <a:lnTo>
                      <a:pt x="3556" y="2890"/>
                    </a:lnTo>
                    <a:lnTo>
                      <a:pt x="3586" y="2893"/>
                    </a:lnTo>
                    <a:lnTo>
                      <a:pt x="3626" y="2916"/>
                    </a:lnTo>
                    <a:lnTo>
                      <a:pt x="3636" y="2956"/>
                    </a:lnTo>
                    <a:lnTo>
                      <a:pt x="3657" y="2962"/>
                    </a:lnTo>
                    <a:lnTo>
                      <a:pt x="3650" y="2912"/>
                    </a:lnTo>
                    <a:lnTo>
                      <a:pt x="3655" y="2892"/>
                    </a:lnTo>
                    <a:lnTo>
                      <a:pt x="3723" y="2934"/>
                    </a:lnTo>
                    <a:lnTo>
                      <a:pt x="3753" y="2945"/>
                    </a:lnTo>
                    <a:lnTo>
                      <a:pt x="3777" y="2961"/>
                    </a:lnTo>
                    <a:lnTo>
                      <a:pt x="3737" y="3001"/>
                    </a:lnTo>
                    <a:lnTo>
                      <a:pt x="3733" y="3011"/>
                    </a:lnTo>
                    <a:lnTo>
                      <a:pt x="3794" y="3004"/>
                    </a:lnTo>
                    <a:lnTo>
                      <a:pt x="3817" y="3017"/>
                    </a:lnTo>
                    <a:lnTo>
                      <a:pt x="3797" y="3037"/>
                    </a:lnTo>
                    <a:lnTo>
                      <a:pt x="3847" y="3037"/>
                    </a:lnTo>
                    <a:lnTo>
                      <a:pt x="3884" y="3053"/>
                    </a:lnTo>
                    <a:lnTo>
                      <a:pt x="3917" y="3093"/>
                    </a:lnTo>
                    <a:lnTo>
                      <a:pt x="3898" y="3175"/>
                    </a:lnTo>
                    <a:lnTo>
                      <a:pt x="3962" y="3178"/>
                    </a:lnTo>
                    <a:lnTo>
                      <a:pt x="4089" y="3224"/>
                    </a:lnTo>
                    <a:lnTo>
                      <a:pt x="4099" y="3201"/>
                    </a:lnTo>
                    <a:lnTo>
                      <a:pt x="4015" y="3148"/>
                    </a:lnTo>
                    <a:lnTo>
                      <a:pt x="3947" y="3049"/>
                    </a:lnTo>
                    <a:lnTo>
                      <a:pt x="3889" y="2937"/>
                    </a:lnTo>
                    <a:lnTo>
                      <a:pt x="3863" y="2963"/>
                    </a:lnTo>
                    <a:lnTo>
                      <a:pt x="3846" y="2937"/>
                    </a:lnTo>
                    <a:lnTo>
                      <a:pt x="3833" y="2891"/>
                    </a:lnTo>
                    <a:lnTo>
                      <a:pt x="3856" y="2881"/>
                    </a:lnTo>
                    <a:lnTo>
                      <a:pt x="3853" y="2861"/>
                    </a:lnTo>
                    <a:lnTo>
                      <a:pt x="3863" y="2854"/>
                    </a:lnTo>
                    <a:lnTo>
                      <a:pt x="3964" y="3049"/>
                    </a:lnTo>
                    <a:lnTo>
                      <a:pt x="4028" y="3142"/>
                    </a:lnTo>
                    <a:lnTo>
                      <a:pt x="4096" y="3174"/>
                    </a:lnTo>
                    <a:lnTo>
                      <a:pt x="4119" y="3181"/>
                    </a:lnTo>
                    <a:lnTo>
                      <a:pt x="4145" y="3183"/>
                    </a:lnTo>
                    <a:lnTo>
                      <a:pt x="4158" y="3163"/>
                    </a:lnTo>
                    <a:lnTo>
                      <a:pt x="4185" y="3133"/>
                    </a:lnTo>
                    <a:lnTo>
                      <a:pt x="4215" y="3180"/>
                    </a:lnTo>
                    <a:lnTo>
                      <a:pt x="4245" y="3160"/>
                    </a:lnTo>
                    <a:lnTo>
                      <a:pt x="4258" y="3139"/>
                    </a:lnTo>
                    <a:lnTo>
                      <a:pt x="4317" y="3125"/>
                    </a:lnTo>
                    <a:lnTo>
                      <a:pt x="4361" y="3132"/>
                    </a:lnTo>
                    <a:lnTo>
                      <a:pt x="4419" y="3174"/>
                    </a:lnTo>
                    <a:lnTo>
                      <a:pt x="4401" y="3191"/>
                    </a:lnTo>
                    <a:lnTo>
                      <a:pt x="4355" y="3185"/>
                    </a:lnTo>
                    <a:lnTo>
                      <a:pt x="4342" y="3192"/>
                    </a:lnTo>
                    <a:lnTo>
                      <a:pt x="4340" y="3254"/>
                    </a:lnTo>
                    <a:lnTo>
                      <a:pt x="4326" y="3294"/>
                    </a:lnTo>
                    <a:lnTo>
                      <a:pt x="4303" y="3298"/>
                    </a:lnTo>
                    <a:lnTo>
                      <a:pt x="4263" y="3305"/>
                    </a:lnTo>
                    <a:lnTo>
                      <a:pt x="4217" y="3336"/>
                    </a:lnTo>
                    <a:lnTo>
                      <a:pt x="4146" y="3280"/>
                    </a:lnTo>
                    <a:lnTo>
                      <a:pt x="4072" y="3283"/>
                    </a:lnTo>
                    <a:lnTo>
                      <a:pt x="4043" y="3320"/>
                    </a:lnTo>
                    <a:lnTo>
                      <a:pt x="4023" y="3363"/>
                    </a:lnTo>
                    <a:lnTo>
                      <a:pt x="3954" y="3385"/>
                    </a:lnTo>
                    <a:lnTo>
                      <a:pt x="3927" y="3418"/>
                    </a:lnTo>
                    <a:lnTo>
                      <a:pt x="3887" y="3421"/>
                    </a:lnTo>
                    <a:lnTo>
                      <a:pt x="3857" y="3401"/>
                    </a:lnTo>
                    <a:lnTo>
                      <a:pt x="3830" y="3416"/>
                    </a:lnTo>
                    <a:lnTo>
                      <a:pt x="3761" y="3486"/>
                    </a:lnTo>
                    <a:lnTo>
                      <a:pt x="3665" y="3566"/>
                    </a:lnTo>
                    <a:lnTo>
                      <a:pt x="3580" y="3626"/>
                    </a:lnTo>
                    <a:lnTo>
                      <a:pt x="3495" y="3577"/>
                    </a:lnTo>
                    <a:lnTo>
                      <a:pt x="3412" y="3568"/>
                    </a:lnTo>
                    <a:lnTo>
                      <a:pt x="3405" y="3545"/>
                    </a:lnTo>
                    <a:lnTo>
                      <a:pt x="3462" y="3502"/>
                    </a:lnTo>
                    <a:lnTo>
                      <a:pt x="3451" y="3445"/>
                    </a:lnTo>
                    <a:lnTo>
                      <a:pt x="3474" y="3435"/>
                    </a:lnTo>
                    <a:lnTo>
                      <a:pt x="3487" y="3342"/>
                    </a:lnTo>
                    <a:lnTo>
                      <a:pt x="3439" y="3270"/>
                    </a:lnTo>
                    <a:lnTo>
                      <a:pt x="3389" y="3287"/>
                    </a:lnTo>
                    <a:lnTo>
                      <a:pt x="3379" y="3260"/>
                    </a:lnTo>
                    <a:lnTo>
                      <a:pt x="3316" y="3207"/>
                    </a:lnTo>
                    <a:lnTo>
                      <a:pt x="3275" y="3204"/>
                    </a:lnTo>
                    <a:lnTo>
                      <a:pt x="3252" y="3238"/>
                    </a:lnTo>
                    <a:lnTo>
                      <a:pt x="3209" y="3222"/>
                    </a:lnTo>
                    <a:lnTo>
                      <a:pt x="3168" y="3199"/>
                    </a:lnTo>
                    <a:lnTo>
                      <a:pt x="3158" y="3173"/>
                    </a:lnTo>
                    <a:lnTo>
                      <a:pt x="3179" y="3158"/>
                    </a:lnTo>
                    <a:lnTo>
                      <a:pt x="3244" y="3108"/>
                    </a:lnTo>
                    <a:lnTo>
                      <a:pt x="3333" y="3035"/>
                    </a:lnTo>
                    <a:lnTo>
                      <a:pt x="3343" y="3005"/>
                    </a:lnTo>
                    <a:lnTo>
                      <a:pt x="3357" y="3028"/>
                    </a:lnTo>
                    <a:lnTo>
                      <a:pt x="3427" y="3000"/>
                    </a:lnTo>
                    <a:lnTo>
                      <a:pt x="3516" y="2977"/>
                    </a:lnTo>
                    <a:lnTo>
                      <a:pt x="3550" y="2987"/>
                    </a:lnTo>
                    <a:lnTo>
                      <a:pt x="3533" y="2953"/>
                    </a:lnTo>
                    <a:lnTo>
                      <a:pt x="3563" y="2923"/>
                    </a:lnTo>
                    <a:lnTo>
                      <a:pt x="3506" y="2943"/>
                    </a:lnTo>
                    <a:lnTo>
                      <a:pt x="3503" y="2907"/>
                    </a:lnTo>
                    <a:lnTo>
                      <a:pt x="3486" y="2884"/>
                    </a:lnTo>
                    <a:lnTo>
                      <a:pt x="3478" y="2817"/>
                    </a:lnTo>
                    <a:lnTo>
                      <a:pt x="3463" y="2861"/>
                    </a:lnTo>
                    <a:lnTo>
                      <a:pt x="3439" y="2868"/>
                    </a:lnTo>
                    <a:lnTo>
                      <a:pt x="3456" y="2911"/>
                    </a:lnTo>
                    <a:lnTo>
                      <a:pt x="3443" y="2908"/>
                    </a:lnTo>
                    <a:lnTo>
                      <a:pt x="3412" y="2888"/>
                    </a:lnTo>
                    <a:lnTo>
                      <a:pt x="3392" y="2891"/>
                    </a:lnTo>
                    <a:lnTo>
                      <a:pt x="3369" y="2879"/>
                    </a:lnTo>
                    <a:lnTo>
                      <a:pt x="3366" y="2842"/>
                    </a:lnTo>
                    <a:lnTo>
                      <a:pt x="3342" y="2859"/>
                    </a:lnTo>
                    <a:lnTo>
                      <a:pt x="3312" y="2835"/>
                    </a:lnTo>
                    <a:lnTo>
                      <a:pt x="3302" y="2855"/>
                    </a:lnTo>
                    <a:lnTo>
                      <a:pt x="3285" y="2859"/>
                    </a:lnTo>
                    <a:lnTo>
                      <a:pt x="3245" y="2867"/>
                    </a:lnTo>
                    <a:lnTo>
                      <a:pt x="3203" y="2883"/>
                    </a:lnTo>
                    <a:lnTo>
                      <a:pt x="3200" y="2907"/>
                    </a:lnTo>
                    <a:lnTo>
                      <a:pt x="3270" y="2919"/>
                    </a:lnTo>
                    <a:lnTo>
                      <a:pt x="3246" y="2926"/>
                    </a:lnTo>
                    <a:lnTo>
                      <a:pt x="3173" y="2913"/>
                    </a:lnTo>
                    <a:lnTo>
                      <a:pt x="3140" y="2920"/>
                    </a:lnTo>
                    <a:lnTo>
                      <a:pt x="2909" y="2860"/>
                    </a:lnTo>
                    <a:lnTo>
                      <a:pt x="2902" y="2823"/>
                    </a:lnTo>
                    <a:lnTo>
                      <a:pt x="2919" y="2856"/>
                    </a:lnTo>
                    <a:lnTo>
                      <a:pt x="3109" y="2901"/>
                    </a:lnTo>
                    <a:lnTo>
                      <a:pt x="3143" y="2903"/>
                    </a:lnTo>
                    <a:lnTo>
                      <a:pt x="3049" y="2829"/>
                    </a:lnTo>
                    <a:lnTo>
                      <a:pt x="2996" y="2829"/>
                    </a:lnTo>
                    <a:lnTo>
                      <a:pt x="2986" y="2855"/>
                    </a:lnTo>
                    <a:lnTo>
                      <a:pt x="2946" y="2839"/>
                    </a:lnTo>
                    <a:lnTo>
                      <a:pt x="2942" y="2806"/>
                    </a:lnTo>
                    <a:lnTo>
                      <a:pt x="3031" y="2785"/>
                    </a:lnTo>
                    <a:lnTo>
                      <a:pt x="3051" y="2782"/>
                    </a:lnTo>
                    <a:lnTo>
                      <a:pt x="3021" y="2732"/>
                    </a:lnTo>
                    <a:lnTo>
                      <a:pt x="2958" y="2719"/>
                    </a:lnTo>
                    <a:lnTo>
                      <a:pt x="2924" y="2736"/>
                    </a:lnTo>
                    <a:lnTo>
                      <a:pt x="2871" y="2694"/>
                    </a:lnTo>
                    <a:lnTo>
                      <a:pt x="2864" y="2680"/>
                    </a:lnTo>
                    <a:lnTo>
                      <a:pt x="2918" y="2697"/>
                    </a:lnTo>
                    <a:lnTo>
                      <a:pt x="2934" y="2686"/>
                    </a:lnTo>
                    <a:lnTo>
                      <a:pt x="2995" y="2703"/>
                    </a:lnTo>
                    <a:lnTo>
                      <a:pt x="3055" y="2715"/>
                    </a:lnTo>
                    <a:lnTo>
                      <a:pt x="3105" y="2735"/>
                    </a:lnTo>
                    <a:lnTo>
                      <a:pt x="3246" y="2594"/>
                    </a:lnTo>
                    <a:lnTo>
                      <a:pt x="3117" y="2682"/>
                    </a:lnTo>
                    <a:lnTo>
                      <a:pt x="3048" y="2702"/>
                    </a:lnTo>
                    <a:lnTo>
                      <a:pt x="3014" y="2666"/>
                    </a:lnTo>
                    <a:lnTo>
                      <a:pt x="2990" y="2636"/>
                    </a:lnTo>
                    <a:lnTo>
                      <a:pt x="2984" y="2614"/>
                    </a:lnTo>
                    <a:lnTo>
                      <a:pt x="2977" y="2570"/>
                    </a:lnTo>
                    <a:lnTo>
                      <a:pt x="3002" y="2547"/>
                    </a:lnTo>
                    <a:lnTo>
                      <a:pt x="2986" y="2513"/>
                    </a:lnTo>
                    <a:lnTo>
                      <a:pt x="2982" y="2480"/>
                    </a:lnTo>
                    <a:lnTo>
                      <a:pt x="2969" y="2527"/>
                    </a:lnTo>
                    <a:lnTo>
                      <a:pt x="2982" y="2543"/>
                    </a:lnTo>
                    <a:lnTo>
                      <a:pt x="2950" y="2570"/>
                    </a:lnTo>
                    <a:lnTo>
                      <a:pt x="2957" y="2607"/>
                    </a:lnTo>
                    <a:lnTo>
                      <a:pt x="2973" y="2633"/>
                    </a:lnTo>
                    <a:lnTo>
                      <a:pt x="2967" y="2656"/>
                    </a:lnTo>
                    <a:lnTo>
                      <a:pt x="2931" y="2670"/>
                    </a:lnTo>
                    <a:lnTo>
                      <a:pt x="2907" y="2650"/>
                    </a:lnTo>
                    <a:lnTo>
                      <a:pt x="2891" y="2664"/>
                    </a:lnTo>
                    <a:lnTo>
                      <a:pt x="2851" y="2664"/>
                    </a:lnTo>
                    <a:lnTo>
                      <a:pt x="2890" y="2597"/>
                    </a:lnTo>
                    <a:lnTo>
                      <a:pt x="2853" y="2598"/>
                    </a:lnTo>
                    <a:lnTo>
                      <a:pt x="2840" y="2575"/>
                    </a:lnTo>
                    <a:lnTo>
                      <a:pt x="2848" y="2637"/>
                    </a:lnTo>
                    <a:lnTo>
                      <a:pt x="2828" y="2655"/>
                    </a:lnTo>
                    <a:lnTo>
                      <a:pt x="2777" y="2662"/>
                    </a:lnTo>
                    <a:lnTo>
                      <a:pt x="2744" y="2678"/>
                    </a:lnTo>
                    <a:lnTo>
                      <a:pt x="2650" y="2683"/>
                    </a:lnTo>
                    <a:lnTo>
                      <a:pt x="2635" y="2703"/>
                    </a:lnTo>
                    <a:lnTo>
                      <a:pt x="2648" y="2735"/>
                    </a:lnTo>
                    <a:lnTo>
                      <a:pt x="2625" y="2772"/>
                    </a:lnTo>
                    <a:lnTo>
                      <a:pt x="2619" y="2822"/>
                    </a:lnTo>
                    <a:lnTo>
                      <a:pt x="2579" y="2859"/>
                    </a:lnTo>
                    <a:lnTo>
                      <a:pt x="2549" y="2895"/>
                    </a:lnTo>
                    <a:lnTo>
                      <a:pt x="2549" y="2882"/>
                    </a:lnTo>
                    <a:lnTo>
                      <a:pt x="2566" y="2855"/>
                    </a:lnTo>
                    <a:lnTo>
                      <a:pt x="2536" y="2846"/>
                    </a:lnTo>
                    <a:lnTo>
                      <a:pt x="2512" y="2830"/>
                    </a:lnTo>
                    <a:lnTo>
                      <a:pt x="2502" y="2793"/>
                    </a:lnTo>
                    <a:lnTo>
                      <a:pt x="2489" y="2820"/>
                    </a:lnTo>
                    <a:lnTo>
                      <a:pt x="2479" y="2791"/>
                    </a:lnTo>
                    <a:lnTo>
                      <a:pt x="2452" y="2781"/>
                    </a:lnTo>
                    <a:lnTo>
                      <a:pt x="2442" y="2824"/>
                    </a:lnTo>
                    <a:lnTo>
                      <a:pt x="2482" y="2867"/>
                    </a:lnTo>
                    <a:lnTo>
                      <a:pt x="2509" y="2880"/>
                    </a:lnTo>
                    <a:lnTo>
                      <a:pt x="2527" y="2893"/>
                    </a:lnTo>
                    <a:lnTo>
                      <a:pt x="2530" y="2932"/>
                    </a:lnTo>
                    <a:lnTo>
                      <a:pt x="2513" y="2972"/>
                    </a:lnTo>
                    <a:lnTo>
                      <a:pt x="2477" y="2982"/>
                    </a:lnTo>
                    <a:lnTo>
                      <a:pt x="2454" y="3009"/>
                    </a:lnTo>
                    <a:lnTo>
                      <a:pt x="2438" y="3012"/>
                    </a:lnTo>
                    <a:lnTo>
                      <a:pt x="2397" y="3014"/>
                    </a:lnTo>
                    <a:lnTo>
                      <a:pt x="2347" y="3027"/>
                    </a:lnTo>
                    <a:lnTo>
                      <a:pt x="2374" y="3054"/>
                    </a:lnTo>
                    <a:lnTo>
                      <a:pt x="2315" y="3090"/>
                    </a:lnTo>
                    <a:lnTo>
                      <a:pt x="2298" y="3067"/>
                    </a:lnTo>
                    <a:lnTo>
                      <a:pt x="2287" y="3035"/>
                    </a:lnTo>
                    <a:lnTo>
                      <a:pt x="2300" y="3018"/>
                    </a:lnTo>
                    <a:lnTo>
                      <a:pt x="2300" y="2985"/>
                    </a:lnTo>
                    <a:lnTo>
                      <a:pt x="2280" y="2968"/>
                    </a:lnTo>
                    <a:lnTo>
                      <a:pt x="2254" y="3045"/>
                    </a:lnTo>
                    <a:lnTo>
                      <a:pt x="2251" y="3097"/>
                    </a:lnTo>
                    <a:lnTo>
                      <a:pt x="2285" y="3117"/>
                    </a:lnTo>
                    <a:lnTo>
                      <a:pt x="2292" y="3161"/>
                    </a:lnTo>
                    <a:lnTo>
                      <a:pt x="2266" y="3177"/>
                    </a:lnTo>
                    <a:lnTo>
                      <a:pt x="2274" y="3210"/>
                    </a:lnTo>
                    <a:lnTo>
                      <a:pt x="2189" y="3129"/>
                    </a:lnTo>
                    <a:lnTo>
                      <a:pt x="2101" y="3134"/>
                    </a:lnTo>
                    <a:lnTo>
                      <a:pt x="2034" y="3184"/>
                    </a:lnTo>
                    <a:lnTo>
                      <a:pt x="1937" y="3202"/>
                    </a:lnTo>
                    <a:lnTo>
                      <a:pt x="1816" y="3088"/>
                    </a:lnTo>
                    <a:lnTo>
                      <a:pt x="1850" y="2969"/>
                    </a:lnTo>
                    <a:lnTo>
                      <a:pt x="1947" y="2941"/>
                    </a:lnTo>
                    <a:lnTo>
                      <a:pt x="2041" y="2874"/>
                    </a:lnTo>
                    <a:lnTo>
                      <a:pt x="2065" y="2732"/>
                    </a:lnTo>
                    <a:lnTo>
                      <a:pt x="2110" y="2687"/>
                    </a:lnTo>
                    <a:lnTo>
                      <a:pt x="2150" y="2714"/>
                    </a:lnTo>
                    <a:lnTo>
                      <a:pt x="2284" y="2704"/>
                    </a:lnTo>
                    <a:lnTo>
                      <a:pt x="2332" y="2689"/>
                    </a:lnTo>
                    <a:lnTo>
                      <a:pt x="2377" y="2729"/>
                    </a:lnTo>
                    <a:lnTo>
                      <a:pt x="2421" y="2707"/>
                    </a:lnTo>
                    <a:lnTo>
                      <a:pt x="2363" y="2631"/>
                    </a:lnTo>
                    <a:lnTo>
                      <a:pt x="2375" y="2566"/>
                    </a:lnTo>
                    <a:lnTo>
                      <a:pt x="2294" y="2376"/>
                    </a:lnTo>
                    <a:lnTo>
                      <a:pt x="2245" y="2372"/>
                    </a:lnTo>
                    <a:lnTo>
                      <a:pt x="2186" y="2253"/>
                    </a:lnTo>
                    <a:lnTo>
                      <a:pt x="2202" y="2151"/>
                    </a:lnTo>
                    <a:lnTo>
                      <a:pt x="2090" y="1935"/>
                    </a:lnTo>
                    <a:lnTo>
                      <a:pt x="1970" y="1918"/>
                    </a:lnTo>
                    <a:lnTo>
                      <a:pt x="1604" y="1776"/>
                    </a:lnTo>
                    <a:lnTo>
                      <a:pt x="1445" y="1839"/>
                    </a:lnTo>
                    <a:lnTo>
                      <a:pt x="1436" y="1888"/>
                    </a:lnTo>
                    <a:lnTo>
                      <a:pt x="1245" y="1907"/>
                    </a:lnTo>
                    <a:lnTo>
                      <a:pt x="1114" y="2068"/>
                    </a:lnTo>
                    <a:lnTo>
                      <a:pt x="1065" y="2051"/>
                    </a:lnTo>
                    <a:lnTo>
                      <a:pt x="931" y="2057"/>
                    </a:lnTo>
                    <a:lnTo>
                      <a:pt x="816" y="2123"/>
                    </a:lnTo>
                    <a:lnTo>
                      <a:pt x="727" y="2075"/>
                    </a:lnTo>
                    <a:lnTo>
                      <a:pt x="683" y="2090"/>
                    </a:lnTo>
                    <a:lnTo>
                      <a:pt x="620" y="2050"/>
                    </a:lnTo>
                    <a:lnTo>
                      <a:pt x="567" y="2073"/>
                    </a:lnTo>
                    <a:lnTo>
                      <a:pt x="313" y="2000"/>
                    </a:lnTo>
                    <a:lnTo>
                      <a:pt x="209" y="2081"/>
                    </a:lnTo>
                    <a:lnTo>
                      <a:pt x="166" y="2054"/>
                    </a:lnTo>
                    <a:lnTo>
                      <a:pt x="145" y="1985"/>
                    </a:lnTo>
                    <a:lnTo>
                      <a:pt x="95" y="1969"/>
                    </a:lnTo>
                    <a:lnTo>
                      <a:pt x="71" y="1876"/>
                    </a:lnTo>
                    <a:lnTo>
                      <a:pt x="23" y="1830"/>
                    </a:lnTo>
                    <a:lnTo>
                      <a:pt x="0" y="1698"/>
                    </a:lnTo>
                    <a:lnTo>
                      <a:pt x="73" y="1497"/>
                    </a:lnTo>
                    <a:lnTo>
                      <a:pt x="139" y="1439"/>
                    </a:lnTo>
                    <a:lnTo>
                      <a:pt x="130" y="1396"/>
                    </a:lnTo>
                    <a:lnTo>
                      <a:pt x="500" y="1007"/>
                    </a:lnTo>
                    <a:lnTo>
                      <a:pt x="566" y="1001"/>
                    </a:lnTo>
                    <a:lnTo>
                      <a:pt x="606" y="952"/>
                    </a:lnTo>
                    <a:lnTo>
                      <a:pt x="621" y="732"/>
                    </a:lnTo>
                    <a:lnTo>
                      <a:pt x="495" y="538"/>
                    </a:lnTo>
                    <a:lnTo>
                      <a:pt x="468" y="442"/>
                    </a:lnTo>
                    <a:lnTo>
                      <a:pt x="528" y="431"/>
                    </a:lnTo>
                    <a:lnTo>
                      <a:pt x="528" y="412"/>
                    </a:lnTo>
                    <a:lnTo>
                      <a:pt x="540" y="389"/>
                    </a:lnTo>
                    <a:lnTo>
                      <a:pt x="590" y="414"/>
                    </a:lnTo>
                    <a:lnTo>
                      <a:pt x="673" y="307"/>
                    </a:lnTo>
                    <a:lnTo>
                      <a:pt x="663" y="264"/>
                    </a:lnTo>
                    <a:lnTo>
                      <a:pt x="703" y="230"/>
                    </a:lnTo>
                    <a:lnTo>
                      <a:pt x="1073" y="264"/>
                    </a:lnTo>
                    <a:lnTo>
                      <a:pt x="1213" y="263"/>
                    </a:lnTo>
                    <a:lnTo>
                      <a:pt x="1390" y="344"/>
                    </a:lnTo>
                    <a:lnTo>
                      <a:pt x="1463" y="330"/>
                    </a:lnTo>
                    <a:lnTo>
                      <a:pt x="1549" y="306"/>
                    </a:lnTo>
                    <a:lnTo>
                      <a:pt x="1626" y="385"/>
                    </a:lnTo>
                    <a:lnTo>
                      <a:pt x="1837" y="380"/>
                    </a:lnTo>
                    <a:lnTo>
                      <a:pt x="1884" y="415"/>
                    </a:lnTo>
                    <a:lnTo>
                      <a:pt x="2000" y="389"/>
                    </a:lnTo>
                    <a:lnTo>
                      <a:pt x="2038" y="428"/>
                    </a:lnTo>
                    <a:lnTo>
                      <a:pt x="2097" y="357"/>
                    </a:lnTo>
                    <a:lnTo>
                      <a:pt x="2160" y="386"/>
                    </a:lnTo>
                    <a:lnTo>
                      <a:pt x="2153" y="427"/>
                    </a:lnTo>
                    <a:lnTo>
                      <a:pt x="2220" y="416"/>
                    </a:lnTo>
                    <a:lnTo>
                      <a:pt x="2244" y="445"/>
                    </a:lnTo>
                    <a:lnTo>
                      <a:pt x="2357" y="422"/>
                    </a:lnTo>
                    <a:lnTo>
                      <a:pt x="2414" y="523"/>
                    </a:lnTo>
                    <a:lnTo>
                      <a:pt x="2484" y="527"/>
                    </a:lnTo>
                    <a:lnTo>
                      <a:pt x="2511" y="544"/>
                    </a:lnTo>
                    <a:lnTo>
                      <a:pt x="2548" y="483"/>
                    </a:lnTo>
                    <a:lnTo>
                      <a:pt x="2518" y="457"/>
                    </a:lnTo>
                    <a:lnTo>
                      <a:pt x="2539" y="304"/>
                    </a:lnTo>
                    <a:lnTo>
                      <a:pt x="2677" y="110"/>
                    </a:lnTo>
                    <a:lnTo>
                      <a:pt x="2937" y="74"/>
                    </a:lnTo>
                    <a:lnTo>
                      <a:pt x="3034" y="107"/>
                    </a:lnTo>
                    <a:lnTo>
                      <a:pt x="3090" y="57"/>
                    </a:lnTo>
                    <a:lnTo>
                      <a:pt x="3093" y="27"/>
                    </a:lnTo>
                    <a:lnTo>
                      <a:pt x="3126" y="27"/>
                    </a:lnTo>
                    <a:lnTo>
                      <a:pt x="3166" y="3"/>
                    </a:lnTo>
                    <a:lnTo>
                      <a:pt x="3243" y="42"/>
                    </a:lnTo>
                    <a:lnTo>
                      <a:pt x="3446" y="0"/>
                    </a:lnTo>
                    <a:lnTo>
                      <a:pt x="3546" y="15"/>
                    </a:lnTo>
                    <a:lnTo>
                      <a:pt x="3691" y="197"/>
                    </a:lnTo>
                    <a:lnTo>
                      <a:pt x="3632" y="257"/>
                    </a:lnTo>
                    <a:lnTo>
                      <a:pt x="3675" y="323"/>
                    </a:lnTo>
                    <a:lnTo>
                      <a:pt x="3680" y="459"/>
                    </a:lnTo>
                    <a:lnTo>
                      <a:pt x="3927" y="493"/>
                    </a:lnTo>
                    <a:lnTo>
                      <a:pt x="3955" y="589"/>
                    </a:lnTo>
                    <a:lnTo>
                      <a:pt x="4033" y="762"/>
                    </a:lnTo>
                    <a:lnTo>
                      <a:pt x="4060" y="794"/>
                    </a:lnTo>
                    <a:lnTo>
                      <a:pt x="4071" y="871"/>
                    </a:lnTo>
                    <a:lnTo>
                      <a:pt x="4051" y="918"/>
                    </a:lnTo>
                    <a:lnTo>
                      <a:pt x="4131" y="967"/>
                    </a:lnTo>
                    <a:lnTo>
                      <a:pt x="4244" y="872"/>
                    </a:lnTo>
                    <a:lnTo>
                      <a:pt x="4422" y="974"/>
                    </a:lnTo>
                    <a:lnTo>
                      <a:pt x="4551" y="962"/>
                    </a:lnTo>
                    <a:lnTo>
                      <a:pt x="4617" y="899"/>
                    </a:lnTo>
                    <a:lnTo>
                      <a:pt x="4718" y="995"/>
                    </a:lnTo>
                    <a:lnTo>
                      <a:pt x="4738" y="1057"/>
                    </a:lnTo>
                    <a:lnTo>
                      <a:pt x="4800" y="1113"/>
                    </a:lnTo>
                    <a:lnTo>
                      <a:pt x="4892" y="1066"/>
                    </a:lnTo>
                    <a:lnTo>
                      <a:pt x="4993" y="1128"/>
                    </a:lnTo>
                    <a:lnTo>
                      <a:pt x="5037" y="1198"/>
                    </a:lnTo>
                    <a:lnTo>
                      <a:pt x="5170" y="1186"/>
                    </a:lnTo>
                    <a:lnTo>
                      <a:pt x="5201" y="1239"/>
                    </a:lnTo>
                    <a:lnTo>
                      <a:pt x="5315" y="1341"/>
                    </a:lnTo>
                    <a:lnTo>
                      <a:pt x="5418" y="1307"/>
                    </a:lnTo>
                    <a:lnTo>
                      <a:pt x="5475" y="1332"/>
                    </a:lnTo>
                    <a:lnTo>
                      <a:pt x="5428" y="1386"/>
                    </a:lnTo>
                    <a:lnTo>
                      <a:pt x="5463" y="1456"/>
                    </a:lnTo>
                    <a:lnTo>
                      <a:pt x="5344" y="155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D17FDC28-9FFC-41F3-A7D2-B14266D7812D}"/>
                </a:ext>
              </a:extLst>
            </p:cNvPr>
            <p:cNvGrpSpPr/>
            <p:nvPr/>
          </p:nvGrpSpPr>
          <p:grpSpPr>
            <a:xfrm>
              <a:off x="3536950" y="3076575"/>
              <a:ext cx="669926" cy="525463"/>
              <a:chOff x="3536950" y="3076575"/>
              <a:chExt cx="669926" cy="525463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88" name="Freeform 117">
                <a:extLst>
                  <a:ext uri="{FF2B5EF4-FFF2-40B4-BE49-F238E27FC236}">
                    <a16:creationId xmlns:a16="http://schemas.microsoft.com/office/drawing/2014/main" id="{F3CC23E8-4B2F-4383-A768-1052FDE93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375" y="3381375"/>
                <a:ext cx="17463" cy="34925"/>
              </a:xfrm>
              <a:custGeom>
                <a:avLst/>
                <a:gdLst>
                  <a:gd name="T0" fmla="*/ 37 w 54"/>
                  <a:gd name="T1" fmla="*/ 109 h 109"/>
                  <a:gd name="T2" fmla="*/ 54 w 54"/>
                  <a:gd name="T3" fmla="*/ 63 h 109"/>
                  <a:gd name="T4" fmla="*/ 19 w 54"/>
                  <a:gd name="T5" fmla="*/ 0 h 109"/>
                  <a:gd name="T6" fmla="*/ 37 w 54"/>
                  <a:gd name="T7" fmla="*/ 59 h 109"/>
                  <a:gd name="T8" fmla="*/ 0 w 54"/>
                  <a:gd name="T9" fmla="*/ 86 h 109"/>
                  <a:gd name="T10" fmla="*/ 37 w 54"/>
                  <a:gd name="T11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109">
                    <a:moveTo>
                      <a:pt x="37" y="109"/>
                    </a:moveTo>
                    <a:lnTo>
                      <a:pt x="54" y="63"/>
                    </a:lnTo>
                    <a:lnTo>
                      <a:pt x="19" y="0"/>
                    </a:lnTo>
                    <a:lnTo>
                      <a:pt x="37" y="59"/>
                    </a:lnTo>
                    <a:lnTo>
                      <a:pt x="0" y="86"/>
                    </a:lnTo>
                    <a:lnTo>
                      <a:pt x="37" y="10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9" name="Freeform 118">
                <a:extLst>
                  <a:ext uri="{FF2B5EF4-FFF2-40B4-BE49-F238E27FC236}">
                    <a16:creationId xmlns:a16="http://schemas.microsoft.com/office/drawing/2014/main" id="{44F68A78-3452-41F4-B5AC-45B65B1EA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7588" y="3470275"/>
                <a:ext cx="20638" cy="12700"/>
              </a:xfrm>
              <a:custGeom>
                <a:avLst/>
                <a:gdLst>
                  <a:gd name="T0" fmla="*/ 30 w 65"/>
                  <a:gd name="T1" fmla="*/ 0 h 43"/>
                  <a:gd name="T2" fmla="*/ 0 w 65"/>
                  <a:gd name="T3" fmla="*/ 6 h 43"/>
                  <a:gd name="T4" fmla="*/ 38 w 65"/>
                  <a:gd name="T5" fmla="*/ 40 h 43"/>
                  <a:gd name="T6" fmla="*/ 65 w 65"/>
                  <a:gd name="T7" fmla="*/ 43 h 43"/>
                  <a:gd name="T8" fmla="*/ 30 w 65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43">
                    <a:moveTo>
                      <a:pt x="30" y="0"/>
                    </a:moveTo>
                    <a:lnTo>
                      <a:pt x="0" y="6"/>
                    </a:lnTo>
                    <a:lnTo>
                      <a:pt x="38" y="40"/>
                    </a:lnTo>
                    <a:lnTo>
                      <a:pt x="65" y="43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0" name="Freeform 119">
                <a:extLst>
                  <a:ext uri="{FF2B5EF4-FFF2-40B4-BE49-F238E27FC236}">
                    <a16:creationId xmlns:a16="http://schemas.microsoft.com/office/drawing/2014/main" id="{391A125B-E56E-42BD-9628-8CFDF90F0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6950" y="3205163"/>
                <a:ext cx="269875" cy="382588"/>
              </a:xfrm>
              <a:custGeom>
                <a:avLst/>
                <a:gdLst>
                  <a:gd name="T0" fmla="*/ 487 w 846"/>
                  <a:gd name="T1" fmla="*/ 850 h 1205"/>
                  <a:gd name="T2" fmla="*/ 427 w 846"/>
                  <a:gd name="T3" fmla="*/ 818 h 1205"/>
                  <a:gd name="T4" fmla="*/ 506 w 846"/>
                  <a:gd name="T5" fmla="*/ 737 h 1205"/>
                  <a:gd name="T6" fmla="*/ 476 w 846"/>
                  <a:gd name="T7" fmla="*/ 701 h 1205"/>
                  <a:gd name="T8" fmla="*/ 526 w 846"/>
                  <a:gd name="T9" fmla="*/ 697 h 1205"/>
                  <a:gd name="T10" fmla="*/ 595 w 846"/>
                  <a:gd name="T11" fmla="*/ 656 h 1205"/>
                  <a:gd name="T12" fmla="*/ 522 w 846"/>
                  <a:gd name="T13" fmla="*/ 614 h 1205"/>
                  <a:gd name="T14" fmla="*/ 559 w 846"/>
                  <a:gd name="T15" fmla="*/ 577 h 1205"/>
                  <a:gd name="T16" fmla="*/ 652 w 846"/>
                  <a:gd name="T17" fmla="*/ 586 h 1205"/>
                  <a:gd name="T18" fmla="*/ 621 w 846"/>
                  <a:gd name="T19" fmla="*/ 520 h 1205"/>
                  <a:gd name="T20" fmla="*/ 657 w 846"/>
                  <a:gd name="T21" fmla="*/ 434 h 1205"/>
                  <a:gd name="T22" fmla="*/ 681 w 846"/>
                  <a:gd name="T23" fmla="*/ 487 h 1205"/>
                  <a:gd name="T24" fmla="*/ 764 w 846"/>
                  <a:gd name="T25" fmla="*/ 432 h 1205"/>
                  <a:gd name="T26" fmla="*/ 782 w 846"/>
                  <a:gd name="T27" fmla="*/ 483 h 1205"/>
                  <a:gd name="T28" fmla="*/ 834 w 846"/>
                  <a:gd name="T29" fmla="*/ 419 h 1205"/>
                  <a:gd name="T30" fmla="*/ 803 w 846"/>
                  <a:gd name="T31" fmla="*/ 263 h 1205"/>
                  <a:gd name="T32" fmla="*/ 712 w 846"/>
                  <a:gd name="T33" fmla="*/ 284 h 1205"/>
                  <a:gd name="T34" fmla="*/ 630 w 846"/>
                  <a:gd name="T35" fmla="*/ 308 h 1205"/>
                  <a:gd name="T36" fmla="*/ 597 w 846"/>
                  <a:gd name="T37" fmla="*/ 321 h 1205"/>
                  <a:gd name="T38" fmla="*/ 604 w 846"/>
                  <a:gd name="T39" fmla="*/ 294 h 1205"/>
                  <a:gd name="T40" fmla="*/ 609 w 846"/>
                  <a:gd name="T41" fmla="*/ 284 h 1205"/>
                  <a:gd name="T42" fmla="*/ 627 w 846"/>
                  <a:gd name="T43" fmla="*/ 268 h 1205"/>
                  <a:gd name="T44" fmla="*/ 666 w 846"/>
                  <a:gd name="T45" fmla="*/ 224 h 1205"/>
                  <a:gd name="T46" fmla="*/ 602 w 846"/>
                  <a:gd name="T47" fmla="*/ 245 h 1205"/>
                  <a:gd name="T48" fmla="*/ 626 w 846"/>
                  <a:gd name="T49" fmla="*/ 199 h 1205"/>
                  <a:gd name="T50" fmla="*/ 655 w 846"/>
                  <a:gd name="T51" fmla="*/ 148 h 1205"/>
                  <a:gd name="T52" fmla="*/ 637 w 846"/>
                  <a:gd name="T53" fmla="*/ 59 h 1205"/>
                  <a:gd name="T54" fmla="*/ 567 w 846"/>
                  <a:gd name="T55" fmla="*/ 0 h 1205"/>
                  <a:gd name="T56" fmla="*/ 461 w 846"/>
                  <a:gd name="T57" fmla="*/ 47 h 1205"/>
                  <a:gd name="T58" fmla="*/ 350 w 846"/>
                  <a:gd name="T59" fmla="*/ 45 h 1205"/>
                  <a:gd name="T60" fmla="*/ 348 w 846"/>
                  <a:gd name="T61" fmla="*/ 144 h 1205"/>
                  <a:gd name="T62" fmla="*/ 351 w 846"/>
                  <a:gd name="T63" fmla="*/ 177 h 1205"/>
                  <a:gd name="T64" fmla="*/ 363 w 846"/>
                  <a:gd name="T65" fmla="*/ 264 h 1205"/>
                  <a:gd name="T66" fmla="*/ 305 w 846"/>
                  <a:gd name="T67" fmla="*/ 178 h 1205"/>
                  <a:gd name="T68" fmla="*/ 241 w 846"/>
                  <a:gd name="T69" fmla="*/ 165 h 1205"/>
                  <a:gd name="T70" fmla="*/ 202 w 846"/>
                  <a:gd name="T71" fmla="*/ 255 h 1205"/>
                  <a:gd name="T72" fmla="*/ 195 w 846"/>
                  <a:gd name="T73" fmla="*/ 275 h 1205"/>
                  <a:gd name="T74" fmla="*/ 165 w 846"/>
                  <a:gd name="T75" fmla="*/ 272 h 1205"/>
                  <a:gd name="T76" fmla="*/ 90 w 846"/>
                  <a:gd name="T77" fmla="*/ 263 h 1205"/>
                  <a:gd name="T78" fmla="*/ 55 w 846"/>
                  <a:gd name="T79" fmla="*/ 196 h 1205"/>
                  <a:gd name="T80" fmla="*/ 9 w 846"/>
                  <a:gd name="T81" fmla="*/ 254 h 1205"/>
                  <a:gd name="T82" fmla="*/ 37 w 846"/>
                  <a:gd name="T83" fmla="*/ 360 h 1205"/>
                  <a:gd name="T84" fmla="*/ 17 w 846"/>
                  <a:gd name="T85" fmla="*/ 373 h 1205"/>
                  <a:gd name="T86" fmla="*/ 52 w 846"/>
                  <a:gd name="T87" fmla="*/ 513 h 1205"/>
                  <a:gd name="T88" fmla="*/ 73 w 846"/>
                  <a:gd name="T89" fmla="*/ 622 h 1205"/>
                  <a:gd name="T90" fmla="*/ 19 w 846"/>
                  <a:gd name="T91" fmla="*/ 642 h 1205"/>
                  <a:gd name="T92" fmla="*/ 15 w 846"/>
                  <a:gd name="T93" fmla="*/ 572 h 1205"/>
                  <a:gd name="T94" fmla="*/ 0 w 846"/>
                  <a:gd name="T95" fmla="*/ 758 h 1205"/>
                  <a:gd name="T96" fmla="*/ 74 w 846"/>
                  <a:gd name="T97" fmla="*/ 798 h 1205"/>
                  <a:gd name="T98" fmla="*/ 97 w 846"/>
                  <a:gd name="T99" fmla="*/ 751 h 1205"/>
                  <a:gd name="T100" fmla="*/ 117 w 846"/>
                  <a:gd name="T101" fmla="*/ 840 h 1205"/>
                  <a:gd name="T102" fmla="*/ 181 w 846"/>
                  <a:gd name="T103" fmla="*/ 869 h 1205"/>
                  <a:gd name="T104" fmla="*/ 199 w 846"/>
                  <a:gd name="T105" fmla="*/ 1008 h 1205"/>
                  <a:gd name="T106" fmla="*/ 217 w 846"/>
                  <a:gd name="T107" fmla="*/ 1121 h 1205"/>
                  <a:gd name="T108" fmla="*/ 325 w 846"/>
                  <a:gd name="T109" fmla="*/ 1205 h 1205"/>
                  <a:gd name="T110" fmla="*/ 397 w 846"/>
                  <a:gd name="T111" fmla="*/ 1167 h 1205"/>
                  <a:gd name="T112" fmla="*/ 461 w 846"/>
                  <a:gd name="T113" fmla="*/ 1152 h 1205"/>
                  <a:gd name="T114" fmla="*/ 476 w 846"/>
                  <a:gd name="T115" fmla="*/ 1070 h 1205"/>
                  <a:gd name="T116" fmla="*/ 403 w 846"/>
                  <a:gd name="T117" fmla="*/ 1016 h 1205"/>
                  <a:gd name="T118" fmla="*/ 452 w 846"/>
                  <a:gd name="T119" fmla="*/ 884 h 1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6" h="1205">
                    <a:moveTo>
                      <a:pt x="452" y="884"/>
                    </a:moveTo>
                    <a:lnTo>
                      <a:pt x="487" y="850"/>
                    </a:lnTo>
                    <a:lnTo>
                      <a:pt x="477" y="817"/>
                    </a:lnTo>
                    <a:lnTo>
                      <a:pt x="427" y="818"/>
                    </a:lnTo>
                    <a:lnTo>
                      <a:pt x="467" y="777"/>
                    </a:lnTo>
                    <a:lnTo>
                      <a:pt x="506" y="737"/>
                    </a:lnTo>
                    <a:lnTo>
                      <a:pt x="443" y="711"/>
                    </a:lnTo>
                    <a:lnTo>
                      <a:pt x="476" y="701"/>
                    </a:lnTo>
                    <a:lnTo>
                      <a:pt x="490" y="654"/>
                    </a:lnTo>
                    <a:lnTo>
                      <a:pt x="526" y="697"/>
                    </a:lnTo>
                    <a:lnTo>
                      <a:pt x="583" y="687"/>
                    </a:lnTo>
                    <a:lnTo>
                      <a:pt x="595" y="656"/>
                    </a:lnTo>
                    <a:lnTo>
                      <a:pt x="565" y="637"/>
                    </a:lnTo>
                    <a:lnTo>
                      <a:pt x="522" y="614"/>
                    </a:lnTo>
                    <a:lnTo>
                      <a:pt x="555" y="597"/>
                    </a:lnTo>
                    <a:lnTo>
                      <a:pt x="559" y="577"/>
                    </a:lnTo>
                    <a:lnTo>
                      <a:pt x="626" y="626"/>
                    </a:lnTo>
                    <a:lnTo>
                      <a:pt x="652" y="586"/>
                    </a:lnTo>
                    <a:lnTo>
                      <a:pt x="655" y="549"/>
                    </a:lnTo>
                    <a:lnTo>
                      <a:pt x="621" y="520"/>
                    </a:lnTo>
                    <a:lnTo>
                      <a:pt x="638" y="470"/>
                    </a:lnTo>
                    <a:lnTo>
                      <a:pt x="657" y="434"/>
                    </a:lnTo>
                    <a:lnTo>
                      <a:pt x="690" y="410"/>
                    </a:lnTo>
                    <a:lnTo>
                      <a:pt x="681" y="487"/>
                    </a:lnTo>
                    <a:lnTo>
                      <a:pt x="727" y="436"/>
                    </a:lnTo>
                    <a:lnTo>
                      <a:pt x="764" y="432"/>
                    </a:lnTo>
                    <a:lnTo>
                      <a:pt x="768" y="479"/>
                    </a:lnTo>
                    <a:lnTo>
                      <a:pt x="782" y="483"/>
                    </a:lnTo>
                    <a:lnTo>
                      <a:pt x="787" y="453"/>
                    </a:lnTo>
                    <a:lnTo>
                      <a:pt x="834" y="419"/>
                    </a:lnTo>
                    <a:lnTo>
                      <a:pt x="846" y="319"/>
                    </a:lnTo>
                    <a:lnTo>
                      <a:pt x="803" y="263"/>
                    </a:lnTo>
                    <a:lnTo>
                      <a:pt x="753" y="273"/>
                    </a:lnTo>
                    <a:lnTo>
                      <a:pt x="712" y="284"/>
                    </a:lnTo>
                    <a:lnTo>
                      <a:pt x="662" y="271"/>
                    </a:lnTo>
                    <a:lnTo>
                      <a:pt x="630" y="308"/>
                    </a:lnTo>
                    <a:lnTo>
                      <a:pt x="597" y="321"/>
                    </a:lnTo>
                    <a:lnTo>
                      <a:pt x="597" y="321"/>
                    </a:lnTo>
                    <a:lnTo>
                      <a:pt x="600" y="307"/>
                    </a:lnTo>
                    <a:lnTo>
                      <a:pt x="604" y="294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17" y="276"/>
                    </a:lnTo>
                    <a:lnTo>
                      <a:pt x="627" y="268"/>
                    </a:lnTo>
                    <a:lnTo>
                      <a:pt x="639" y="258"/>
                    </a:lnTo>
                    <a:lnTo>
                      <a:pt x="666" y="224"/>
                    </a:lnTo>
                    <a:lnTo>
                      <a:pt x="659" y="205"/>
                    </a:lnTo>
                    <a:lnTo>
                      <a:pt x="602" y="245"/>
                    </a:lnTo>
                    <a:lnTo>
                      <a:pt x="602" y="209"/>
                    </a:lnTo>
                    <a:lnTo>
                      <a:pt x="626" y="199"/>
                    </a:lnTo>
                    <a:lnTo>
                      <a:pt x="658" y="188"/>
                    </a:lnTo>
                    <a:lnTo>
                      <a:pt x="655" y="148"/>
                    </a:lnTo>
                    <a:lnTo>
                      <a:pt x="638" y="135"/>
                    </a:lnTo>
                    <a:lnTo>
                      <a:pt x="637" y="59"/>
                    </a:lnTo>
                    <a:lnTo>
                      <a:pt x="630" y="32"/>
                    </a:lnTo>
                    <a:lnTo>
                      <a:pt x="567" y="0"/>
                    </a:lnTo>
                    <a:lnTo>
                      <a:pt x="496" y="14"/>
                    </a:lnTo>
                    <a:lnTo>
                      <a:pt x="461" y="47"/>
                    </a:lnTo>
                    <a:lnTo>
                      <a:pt x="400" y="31"/>
                    </a:lnTo>
                    <a:lnTo>
                      <a:pt x="350" y="45"/>
                    </a:lnTo>
                    <a:lnTo>
                      <a:pt x="335" y="105"/>
                    </a:lnTo>
                    <a:lnTo>
                      <a:pt x="348" y="144"/>
                    </a:lnTo>
                    <a:lnTo>
                      <a:pt x="331" y="177"/>
                    </a:lnTo>
                    <a:lnTo>
                      <a:pt x="351" y="177"/>
                    </a:lnTo>
                    <a:lnTo>
                      <a:pt x="378" y="201"/>
                    </a:lnTo>
                    <a:lnTo>
                      <a:pt x="363" y="264"/>
                    </a:lnTo>
                    <a:lnTo>
                      <a:pt x="306" y="231"/>
                    </a:lnTo>
                    <a:lnTo>
                      <a:pt x="305" y="178"/>
                    </a:lnTo>
                    <a:lnTo>
                      <a:pt x="285" y="145"/>
                    </a:lnTo>
                    <a:lnTo>
                      <a:pt x="241" y="165"/>
                    </a:lnTo>
                    <a:lnTo>
                      <a:pt x="199" y="209"/>
                    </a:lnTo>
                    <a:lnTo>
                      <a:pt x="202" y="255"/>
                    </a:lnTo>
                    <a:lnTo>
                      <a:pt x="219" y="265"/>
                    </a:lnTo>
                    <a:lnTo>
                      <a:pt x="195" y="275"/>
                    </a:lnTo>
                    <a:lnTo>
                      <a:pt x="193" y="329"/>
                    </a:lnTo>
                    <a:lnTo>
                      <a:pt x="165" y="272"/>
                    </a:lnTo>
                    <a:lnTo>
                      <a:pt x="120" y="260"/>
                    </a:lnTo>
                    <a:lnTo>
                      <a:pt x="90" y="263"/>
                    </a:lnTo>
                    <a:lnTo>
                      <a:pt x="55" y="223"/>
                    </a:lnTo>
                    <a:lnTo>
                      <a:pt x="55" y="196"/>
                    </a:lnTo>
                    <a:lnTo>
                      <a:pt x="38" y="181"/>
                    </a:lnTo>
                    <a:lnTo>
                      <a:pt x="9" y="254"/>
                    </a:lnTo>
                    <a:lnTo>
                      <a:pt x="23" y="343"/>
                    </a:lnTo>
                    <a:lnTo>
                      <a:pt x="37" y="360"/>
                    </a:lnTo>
                    <a:lnTo>
                      <a:pt x="34" y="409"/>
                    </a:lnTo>
                    <a:lnTo>
                      <a:pt x="17" y="373"/>
                    </a:lnTo>
                    <a:lnTo>
                      <a:pt x="22" y="523"/>
                    </a:lnTo>
                    <a:lnTo>
                      <a:pt x="52" y="513"/>
                    </a:lnTo>
                    <a:lnTo>
                      <a:pt x="68" y="565"/>
                    </a:lnTo>
                    <a:lnTo>
                      <a:pt x="73" y="622"/>
                    </a:lnTo>
                    <a:lnTo>
                      <a:pt x="53" y="659"/>
                    </a:lnTo>
                    <a:lnTo>
                      <a:pt x="19" y="642"/>
                    </a:lnTo>
                    <a:lnTo>
                      <a:pt x="25" y="572"/>
                    </a:lnTo>
                    <a:lnTo>
                      <a:pt x="15" y="572"/>
                    </a:lnTo>
                    <a:lnTo>
                      <a:pt x="11" y="719"/>
                    </a:lnTo>
                    <a:lnTo>
                      <a:pt x="0" y="758"/>
                    </a:lnTo>
                    <a:lnTo>
                      <a:pt x="44" y="805"/>
                    </a:lnTo>
                    <a:lnTo>
                      <a:pt x="74" y="798"/>
                    </a:lnTo>
                    <a:lnTo>
                      <a:pt x="61" y="761"/>
                    </a:lnTo>
                    <a:lnTo>
                      <a:pt x="97" y="751"/>
                    </a:lnTo>
                    <a:lnTo>
                      <a:pt x="97" y="807"/>
                    </a:lnTo>
                    <a:lnTo>
                      <a:pt x="117" y="840"/>
                    </a:lnTo>
                    <a:lnTo>
                      <a:pt x="158" y="834"/>
                    </a:lnTo>
                    <a:lnTo>
                      <a:pt x="181" y="869"/>
                    </a:lnTo>
                    <a:lnTo>
                      <a:pt x="189" y="943"/>
                    </a:lnTo>
                    <a:lnTo>
                      <a:pt x="199" y="1008"/>
                    </a:lnTo>
                    <a:lnTo>
                      <a:pt x="193" y="1045"/>
                    </a:lnTo>
                    <a:lnTo>
                      <a:pt x="217" y="1121"/>
                    </a:lnTo>
                    <a:lnTo>
                      <a:pt x="214" y="1151"/>
                    </a:lnTo>
                    <a:lnTo>
                      <a:pt x="325" y="1205"/>
                    </a:lnTo>
                    <a:lnTo>
                      <a:pt x="421" y="1176"/>
                    </a:lnTo>
                    <a:lnTo>
                      <a:pt x="397" y="1167"/>
                    </a:lnTo>
                    <a:lnTo>
                      <a:pt x="417" y="1133"/>
                    </a:lnTo>
                    <a:lnTo>
                      <a:pt x="461" y="1152"/>
                    </a:lnTo>
                    <a:lnTo>
                      <a:pt x="484" y="1122"/>
                    </a:lnTo>
                    <a:lnTo>
                      <a:pt x="476" y="1070"/>
                    </a:lnTo>
                    <a:lnTo>
                      <a:pt x="406" y="1070"/>
                    </a:lnTo>
                    <a:lnTo>
                      <a:pt x="403" y="1016"/>
                    </a:lnTo>
                    <a:lnTo>
                      <a:pt x="446" y="976"/>
                    </a:lnTo>
                    <a:lnTo>
                      <a:pt x="452" y="88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1" name="Freeform 120">
                <a:extLst>
                  <a:ext uri="{FF2B5EF4-FFF2-40B4-BE49-F238E27FC236}">
                    <a16:creationId xmlns:a16="http://schemas.microsoft.com/office/drawing/2014/main" id="{0D010080-07E4-4FEA-A7FD-284E66DA5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1900" y="3452813"/>
                <a:ext cx="12700" cy="31750"/>
              </a:xfrm>
              <a:custGeom>
                <a:avLst/>
                <a:gdLst>
                  <a:gd name="T0" fmla="*/ 39 w 39"/>
                  <a:gd name="T1" fmla="*/ 57 h 99"/>
                  <a:gd name="T2" fmla="*/ 19 w 39"/>
                  <a:gd name="T3" fmla="*/ 0 h 99"/>
                  <a:gd name="T4" fmla="*/ 2 w 39"/>
                  <a:gd name="T5" fmla="*/ 4 h 99"/>
                  <a:gd name="T6" fmla="*/ 0 w 39"/>
                  <a:gd name="T7" fmla="*/ 57 h 99"/>
                  <a:gd name="T8" fmla="*/ 17 w 39"/>
                  <a:gd name="T9" fmla="*/ 99 h 99"/>
                  <a:gd name="T10" fmla="*/ 39 w 39"/>
                  <a:gd name="T11" fmla="*/ 5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99">
                    <a:moveTo>
                      <a:pt x="39" y="57"/>
                    </a:moveTo>
                    <a:lnTo>
                      <a:pt x="19" y="0"/>
                    </a:lnTo>
                    <a:lnTo>
                      <a:pt x="2" y="4"/>
                    </a:lnTo>
                    <a:lnTo>
                      <a:pt x="0" y="57"/>
                    </a:lnTo>
                    <a:lnTo>
                      <a:pt x="17" y="99"/>
                    </a:lnTo>
                    <a:lnTo>
                      <a:pt x="39" y="5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2" name="Freeform 121">
                <a:extLst>
                  <a:ext uri="{FF2B5EF4-FFF2-40B4-BE49-F238E27FC236}">
                    <a16:creationId xmlns:a16="http://schemas.microsoft.com/office/drawing/2014/main" id="{EAFF4E30-8EE5-4E45-BAC7-B8CC31B3E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0000" y="3352800"/>
                <a:ext cx="152400" cy="192088"/>
              </a:xfrm>
              <a:custGeom>
                <a:avLst/>
                <a:gdLst>
                  <a:gd name="T0" fmla="*/ 170 w 484"/>
                  <a:gd name="T1" fmla="*/ 138 h 605"/>
                  <a:gd name="T2" fmla="*/ 143 w 484"/>
                  <a:gd name="T3" fmla="*/ 181 h 605"/>
                  <a:gd name="T4" fmla="*/ 114 w 484"/>
                  <a:gd name="T5" fmla="*/ 215 h 605"/>
                  <a:gd name="T6" fmla="*/ 17 w 484"/>
                  <a:gd name="T7" fmla="*/ 193 h 605"/>
                  <a:gd name="T8" fmla="*/ 0 w 484"/>
                  <a:gd name="T9" fmla="*/ 216 h 605"/>
                  <a:gd name="T10" fmla="*/ 70 w 484"/>
                  <a:gd name="T11" fmla="*/ 288 h 605"/>
                  <a:gd name="T12" fmla="*/ 48 w 484"/>
                  <a:gd name="T13" fmla="*/ 328 h 605"/>
                  <a:gd name="T14" fmla="*/ 82 w 484"/>
                  <a:gd name="T15" fmla="*/ 377 h 605"/>
                  <a:gd name="T16" fmla="*/ 62 w 484"/>
                  <a:gd name="T17" fmla="*/ 404 h 605"/>
                  <a:gd name="T18" fmla="*/ 76 w 484"/>
                  <a:gd name="T19" fmla="*/ 451 h 605"/>
                  <a:gd name="T20" fmla="*/ 103 w 484"/>
                  <a:gd name="T21" fmla="*/ 487 h 605"/>
                  <a:gd name="T22" fmla="*/ 140 w 484"/>
                  <a:gd name="T23" fmla="*/ 477 h 605"/>
                  <a:gd name="T24" fmla="*/ 140 w 484"/>
                  <a:gd name="T25" fmla="*/ 477 h 605"/>
                  <a:gd name="T26" fmla="*/ 158 w 484"/>
                  <a:gd name="T27" fmla="*/ 487 h 605"/>
                  <a:gd name="T28" fmla="*/ 174 w 484"/>
                  <a:gd name="T29" fmla="*/ 494 h 605"/>
                  <a:gd name="T30" fmla="*/ 186 w 484"/>
                  <a:gd name="T31" fmla="*/ 500 h 605"/>
                  <a:gd name="T32" fmla="*/ 186 w 484"/>
                  <a:gd name="T33" fmla="*/ 500 h 605"/>
                  <a:gd name="T34" fmla="*/ 189 w 484"/>
                  <a:gd name="T35" fmla="*/ 500 h 605"/>
                  <a:gd name="T36" fmla="*/ 191 w 484"/>
                  <a:gd name="T37" fmla="*/ 499 h 605"/>
                  <a:gd name="T38" fmla="*/ 196 w 484"/>
                  <a:gd name="T39" fmla="*/ 497 h 605"/>
                  <a:gd name="T40" fmla="*/ 203 w 484"/>
                  <a:gd name="T41" fmla="*/ 492 h 605"/>
                  <a:gd name="T42" fmla="*/ 210 w 484"/>
                  <a:gd name="T43" fmla="*/ 488 h 605"/>
                  <a:gd name="T44" fmla="*/ 221 w 484"/>
                  <a:gd name="T45" fmla="*/ 478 h 605"/>
                  <a:gd name="T46" fmla="*/ 225 w 484"/>
                  <a:gd name="T47" fmla="*/ 472 h 605"/>
                  <a:gd name="T48" fmla="*/ 267 w 484"/>
                  <a:gd name="T49" fmla="*/ 522 h 605"/>
                  <a:gd name="T50" fmla="*/ 220 w 484"/>
                  <a:gd name="T51" fmla="*/ 532 h 605"/>
                  <a:gd name="T52" fmla="*/ 240 w 484"/>
                  <a:gd name="T53" fmla="*/ 569 h 605"/>
                  <a:gd name="T54" fmla="*/ 277 w 484"/>
                  <a:gd name="T55" fmla="*/ 575 h 605"/>
                  <a:gd name="T56" fmla="*/ 310 w 484"/>
                  <a:gd name="T57" fmla="*/ 605 h 605"/>
                  <a:gd name="T58" fmla="*/ 360 w 484"/>
                  <a:gd name="T59" fmla="*/ 598 h 605"/>
                  <a:gd name="T60" fmla="*/ 313 w 484"/>
                  <a:gd name="T61" fmla="*/ 535 h 605"/>
                  <a:gd name="T62" fmla="*/ 319 w 484"/>
                  <a:gd name="T63" fmla="*/ 501 h 605"/>
                  <a:gd name="T64" fmla="*/ 343 w 484"/>
                  <a:gd name="T65" fmla="*/ 525 h 605"/>
                  <a:gd name="T66" fmla="*/ 342 w 484"/>
                  <a:gd name="T67" fmla="*/ 494 h 605"/>
                  <a:gd name="T68" fmla="*/ 396 w 484"/>
                  <a:gd name="T69" fmla="*/ 501 h 605"/>
                  <a:gd name="T70" fmla="*/ 445 w 484"/>
                  <a:gd name="T71" fmla="*/ 428 h 605"/>
                  <a:gd name="T72" fmla="*/ 381 w 484"/>
                  <a:gd name="T73" fmla="*/ 359 h 605"/>
                  <a:gd name="T74" fmla="*/ 378 w 484"/>
                  <a:gd name="T75" fmla="*/ 302 h 605"/>
                  <a:gd name="T76" fmla="*/ 484 w 484"/>
                  <a:gd name="T77" fmla="*/ 205 h 605"/>
                  <a:gd name="T78" fmla="*/ 483 w 484"/>
                  <a:gd name="T79" fmla="*/ 155 h 605"/>
                  <a:gd name="T80" fmla="*/ 463 w 484"/>
                  <a:gd name="T81" fmla="*/ 102 h 605"/>
                  <a:gd name="T82" fmla="*/ 451 w 484"/>
                  <a:gd name="T83" fmla="*/ 25 h 605"/>
                  <a:gd name="T84" fmla="*/ 401 w 484"/>
                  <a:gd name="T85" fmla="*/ 0 h 605"/>
                  <a:gd name="T86" fmla="*/ 306 w 484"/>
                  <a:gd name="T87" fmla="*/ 97 h 605"/>
                  <a:gd name="T88" fmla="*/ 332 w 484"/>
                  <a:gd name="T89" fmla="*/ 137 h 605"/>
                  <a:gd name="T90" fmla="*/ 333 w 484"/>
                  <a:gd name="T91" fmla="*/ 176 h 605"/>
                  <a:gd name="T92" fmla="*/ 303 w 484"/>
                  <a:gd name="T93" fmla="*/ 147 h 605"/>
                  <a:gd name="T94" fmla="*/ 283 w 484"/>
                  <a:gd name="T95" fmla="*/ 160 h 605"/>
                  <a:gd name="T96" fmla="*/ 267 w 484"/>
                  <a:gd name="T97" fmla="*/ 230 h 605"/>
                  <a:gd name="T98" fmla="*/ 206 w 484"/>
                  <a:gd name="T99" fmla="*/ 190 h 605"/>
                  <a:gd name="T100" fmla="*/ 213 w 484"/>
                  <a:gd name="T101" fmla="*/ 160 h 605"/>
                  <a:gd name="T102" fmla="*/ 193 w 484"/>
                  <a:gd name="T103" fmla="*/ 141 h 605"/>
                  <a:gd name="T104" fmla="*/ 249 w 484"/>
                  <a:gd name="T105" fmla="*/ 84 h 605"/>
                  <a:gd name="T106" fmla="*/ 156 w 484"/>
                  <a:gd name="T107" fmla="*/ 108 h 605"/>
                  <a:gd name="T108" fmla="*/ 103 w 484"/>
                  <a:gd name="T109" fmla="*/ 79 h 605"/>
                  <a:gd name="T110" fmla="*/ 103 w 484"/>
                  <a:gd name="T111" fmla="*/ 102 h 605"/>
                  <a:gd name="T112" fmla="*/ 170 w 484"/>
                  <a:gd name="T113" fmla="*/ 138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84" h="605">
                    <a:moveTo>
                      <a:pt x="170" y="138"/>
                    </a:moveTo>
                    <a:lnTo>
                      <a:pt x="143" y="181"/>
                    </a:lnTo>
                    <a:lnTo>
                      <a:pt x="114" y="215"/>
                    </a:lnTo>
                    <a:lnTo>
                      <a:pt x="17" y="193"/>
                    </a:lnTo>
                    <a:lnTo>
                      <a:pt x="0" y="216"/>
                    </a:lnTo>
                    <a:lnTo>
                      <a:pt x="70" y="288"/>
                    </a:lnTo>
                    <a:lnTo>
                      <a:pt x="48" y="328"/>
                    </a:lnTo>
                    <a:lnTo>
                      <a:pt x="82" y="377"/>
                    </a:lnTo>
                    <a:lnTo>
                      <a:pt x="62" y="404"/>
                    </a:lnTo>
                    <a:lnTo>
                      <a:pt x="76" y="451"/>
                    </a:lnTo>
                    <a:lnTo>
                      <a:pt x="103" y="487"/>
                    </a:lnTo>
                    <a:lnTo>
                      <a:pt x="140" y="477"/>
                    </a:lnTo>
                    <a:lnTo>
                      <a:pt x="140" y="477"/>
                    </a:lnTo>
                    <a:lnTo>
                      <a:pt x="158" y="487"/>
                    </a:lnTo>
                    <a:lnTo>
                      <a:pt x="174" y="494"/>
                    </a:lnTo>
                    <a:lnTo>
                      <a:pt x="186" y="500"/>
                    </a:lnTo>
                    <a:lnTo>
                      <a:pt x="186" y="500"/>
                    </a:lnTo>
                    <a:lnTo>
                      <a:pt x="189" y="500"/>
                    </a:lnTo>
                    <a:lnTo>
                      <a:pt x="191" y="499"/>
                    </a:lnTo>
                    <a:lnTo>
                      <a:pt x="196" y="497"/>
                    </a:lnTo>
                    <a:lnTo>
                      <a:pt x="203" y="492"/>
                    </a:lnTo>
                    <a:lnTo>
                      <a:pt x="210" y="488"/>
                    </a:lnTo>
                    <a:lnTo>
                      <a:pt x="221" y="478"/>
                    </a:lnTo>
                    <a:lnTo>
                      <a:pt x="225" y="472"/>
                    </a:lnTo>
                    <a:lnTo>
                      <a:pt x="267" y="522"/>
                    </a:lnTo>
                    <a:lnTo>
                      <a:pt x="220" y="532"/>
                    </a:lnTo>
                    <a:lnTo>
                      <a:pt x="240" y="569"/>
                    </a:lnTo>
                    <a:lnTo>
                      <a:pt x="277" y="575"/>
                    </a:lnTo>
                    <a:lnTo>
                      <a:pt x="310" y="605"/>
                    </a:lnTo>
                    <a:lnTo>
                      <a:pt x="360" y="598"/>
                    </a:lnTo>
                    <a:lnTo>
                      <a:pt x="313" y="535"/>
                    </a:lnTo>
                    <a:lnTo>
                      <a:pt x="319" y="501"/>
                    </a:lnTo>
                    <a:lnTo>
                      <a:pt x="343" y="525"/>
                    </a:lnTo>
                    <a:lnTo>
                      <a:pt x="342" y="494"/>
                    </a:lnTo>
                    <a:lnTo>
                      <a:pt x="396" y="501"/>
                    </a:lnTo>
                    <a:lnTo>
                      <a:pt x="445" y="428"/>
                    </a:lnTo>
                    <a:lnTo>
                      <a:pt x="381" y="359"/>
                    </a:lnTo>
                    <a:lnTo>
                      <a:pt x="378" y="302"/>
                    </a:lnTo>
                    <a:lnTo>
                      <a:pt x="484" y="205"/>
                    </a:lnTo>
                    <a:lnTo>
                      <a:pt x="483" y="155"/>
                    </a:lnTo>
                    <a:lnTo>
                      <a:pt x="463" y="102"/>
                    </a:lnTo>
                    <a:lnTo>
                      <a:pt x="451" y="25"/>
                    </a:lnTo>
                    <a:lnTo>
                      <a:pt x="401" y="0"/>
                    </a:lnTo>
                    <a:lnTo>
                      <a:pt x="306" y="97"/>
                    </a:lnTo>
                    <a:lnTo>
                      <a:pt x="332" y="137"/>
                    </a:lnTo>
                    <a:lnTo>
                      <a:pt x="333" y="176"/>
                    </a:lnTo>
                    <a:lnTo>
                      <a:pt x="303" y="147"/>
                    </a:lnTo>
                    <a:lnTo>
                      <a:pt x="283" y="160"/>
                    </a:lnTo>
                    <a:lnTo>
                      <a:pt x="267" y="230"/>
                    </a:lnTo>
                    <a:lnTo>
                      <a:pt x="206" y="190"/>
                    </a:lnTo>
                    <a:lnTo>
                      <a:pt x="213" y="160"/>
                    </a:lnTo>
                    <a:lnTo>
                      <a:pt x="193" y="141"/>
                    </a:lnTo>
                    <a:lnTo>
                      <a:pt x="249" y="84"/>
                    </a:lnTo>
                    <a:lnTo>
                      <a:pt x="156" y="108"/>
                    </a:lnTo>
                    <a:lnTo>
                      <a:pt x="103" y="79"/>
                    </a:lnTo>
                    <a:lnTo>
                      <a:pt x="103" y="102"/>
                    </a:lnTo>
                    <a:lnTo>
                      <a:pt x="170" y="138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3" name="Freeform 122">
                <a:extLst>
                  <a:ext uri="{FF2B5EF4-FFF2-40B4-BE49-F238E27FC236}">
                    <a16:creationId xmlns:a16="http://schemas.microsoft.com/office/drawing/2014/main" id="{26771365-C97F-4257-B2B1-1AB29707B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2988" y="3221038"/>
                <a:ext cx="33338" cy="30163"/>
              </a:xfrm>
              <a:custGeom>
                <a:avLst/>
                <a:gdLst>
                  <a:gd name="T0" fmla="*/ 47 w 106"/>
                  <a:gd name="T1" fmla="*/ 34 h 97"/>
                  <a:gd name="T2" fmla="*/ 7 w 106"/>
                  <a:gd name="T3" fmla="*/ 25 h 97"/>
                  <a:gd name="T4" fmla="*/ 0 w 106"/>
                  <a:gd name="T5" fmla="*/ 50 h 97"/>
                  <a:gd name="T6" fmla="*/ 27 w 106"/>
                  <a:gd name="T7" fmla="*/ 97 h 97"/>
                  <a:gd name="T8" fmla="*/ 87 w 106"/>
                  <a:gd name="T9" fmla="*/ 67 h 97"/>
                  <a:gd name="T10" fmla="*/ 106 w 106"/>
                  <a:gd name="T11" fmla="*/ 7 h 97"/>
                  <a:gd name="T12" fmla="*/ 54 w 106"/>
                  <a:gd name="T13" fmla="*/ 0 h 97"/>
                  <a:gd name="T14" fmla="*/ 47 w 106"/>
                  <a:gd name="T15" fmla="*/ 3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" h="97">
                    <a:moveTo>
                      <a:pt x="47" y="34"/>
                    </a:moveTo>
                    <a:lnTo>
                      <a:pt x="7" y="25"/>
                    </a:lnTo>
                    <a:lnTo>
                      <a:pt x="0" y="50"/>
                    </a:lnTo>
                    <a:lnTo>
                      <a:pt x="27" y="97"/>
                    </a:lnTo>
                    <a:lnTo>
                      <a:pt x="87" y="67"/>
                    </a:lnTo>
                    <a:lnTo>
                      <a:pt x="106" y="7"/>
                    </a:lnTo>
                    <a:lnTo>
                      <a:pt x="54" y="0"/>
                    </a:lnTo>
                    <a:lnTo>
                      <a:pt x="47" y="3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4" name="Freeform 123">
                <a:extLst>
                  <a:ext uri="{FF2B5EF4-FFF2-40B4-BE49-F238E27FC236}">
                    <a16:creationId xmlns:a16="http://schemas.microsoft.com/office/drawing/2014/main" id="{5685F014-A544-4D00-A426-F9A5B6E90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888" y="3146425"/>
                <a:ext cx="26988" cy="20638"/>
              </a:xfrm>
              <a:custGeom>
                <a:avLst/>
                <a:gdLst>
                  <a:gd name="T0" fmla="*/ 50 w 87"/>
                  <a:gd name="T1" fmla="*/ 37 h 64"/>
                  <a:gd name="T2" fmla="*/ 87 w 87"/>
                  <a:gd name="T3" fmla="*/ 51 h 64"/>
                  <a:gd name="T4" fmla="*/ 70 w 87"/>
                  <a:gd name="T5" fmla="*/ 0 h 64"/>
                  <a:gd name="T6" fmla="*/ 23 w 87"/>
                  <a:gd name="T7" fmla="*/ 14 h 64"/>
                  <a:gd name="T8" fmla="*/ 0 w 87"/>
                  <a:gd name="T9" fmla="*/ 47 h 64"/>
                  <a:gd name="T10" fmla="*/ 16 w 87"/>
                  <a:gd name="T11" fmla="*/ 64 h 64"/>
                  <a:gd name="T12" fmla="*/ 50 w 87"/>
                  <a:gd name="T13" fmla="*/ 37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64">
                    <a:moveTo>
                      <a:pt x="50" y="37"/>
                    </a:moveTo>
                    <a:lnTo>
                      <a:pt x="87" y="51"/>
                    </a:lnTo>
                    <a:lnTo>
                      <a:pt x="70" y="0"/>
                    </a:lnTo>
                    <a:lnTo>
                      <a:pt x="23" y="14"/>
                    </a:lnTo>
                    <a:lnTo>
                      <a:pt x="0" y="47"/>
                    </a:lnTo>
                    <a:lnTo>
                      <a:pt x="16" y="64"/>
                    </a:lnTo>
                    <a:lnTo>
                      <a:pt x="50" y="3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5" name="Freeform 124">
                <a:extLst>
                  <a:ext uri="{FF2B5EF4-FFF2-40B4-BE49-F238E27FC236}">
                    <a16:creationId xmlns:a16="http://schemas.microsoft.com/office/drawing/2014/main" id="{BB5DABF4-11CD-410B-AB9E-9BD1B92E0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825" y="3076575"/>
                <a:ext cx="219075" cy="200025"/>
              </a:xfrm>
              <a:custGeom>
                <a:avLst/>
                <a:gdLst>
                  <a:gd name="T0" fmla="*/ 61 w 691"/>
                  <a:gd name="T1" fmla="*/ 599 h 628"/>
                  <a:gd name="T2" fmla="*/ 87 w 691"/>
                  <a:gd name="T3" fmla="*/ 583 h 628"/>
                  <a:gd name="T4" fmla="*/ 77 w 691"/>
                  <a:gd name="T5" fmla="*/ 619 h 628"/>
                  <a:gd name="T6" fmla="*/ 111 w 691"/>
                  <a:gd name="T7" fmla="*/ 628 h 628"/>
                  <a:gd name="T8" fmla="*/ 114 w 691"/>
                  <a:gd name="T9" fmla="*/ 583 h 628"/>
                  <a:gd name="T10" fmla="*/ 94 w 691"/>
                  <a:gd name="T11" fmla="*/ 563 h 628"/>
                  <a:gd name="T12" fmla="*/ 94 w 691"/>
                  <a:gd name="T13" fmla="*/ 549 h 628"/>
                  <a:gd name="T14" fmla="*/ 59 w 691"/>
                  <a:gd name="T15" fmla="*/ 524 h 628"/>
                  <a:gd name="T16" fmla="*/ 69 w 691"/>
                  <a:gd name="T17" fmla="*/ 470 h 628"/>
                  <a:gd name="T18" fmla="*/ 149 w 691"/>
                  <a:gd name="T19" fmla="*/ 442 h 628"/>
                  <a:gd name="T20" fmla="*/ 172 w 691"/>
                  <a:gd name="T21" fmla="*/ 402 h 628"/>
                  <a:gd name="T22" fmla="*/ 254 w 691"/>
                  <a:gd name="T23" fmla="*/ 355 h 628"/>
                  <a:gd name="T24" fmla="*/ 266 w 691"/>
                  <a:gd name="T25" fmla="*/ 399 h 628"/>
                  <a:gd name="T26" fmla="*/ 312 w 691"/>
                  <a:gd name="T27" fmla="*/ 421 h 628"/>
                  <a:gd name="T28" fmla="*/ 378 w 691"/>
                  <a:gd name="T29" fmla="*/ 374 h 628"/>
                  <a:gd name="T30" fmla="*/ 422 w 691"/>
                  <a:gd name="T31" fmla="*/ 386 h 628"/>
                  <a:gd name="T32" fmla="*/ 448 w 691"/>
                  <a:gd name="T33" fmla="*/ 360 h 628"/>
                  <a:gd name="T34" fmla="*/ 498 w 691"/>
                  <a:gd name="T35" fmla="*/ 373 h 628"/>
                  <a:gd name="T36" fmla="*/ 552 w 691"/>
                  <a:gd name="T37" fmla="*/ 379 h 628"/>
                  <a:gd name="T38" fmla="*/ 582 w 691"/>
                  <a:gd name="T39" fmla="*/ 409 h 628"/>
                  <a:gd name="T40" fmla="*/ 599 w 691"/>
                  <a:gd name="T41" fmla="*/ 419 h 628"/>
                  <a:gd name="T42" fmla="*/ 605 w 691"/>
                  <a:gd name="T43" fmla="*/ 389 h 628"/>
                  <a:gd name="T44" fmla="*/ 638 w 691"/>
                  <a:gd name="T45" fmla="*/ 325 h 628"/>
                  <a:gd name="T46" fmla="*/ 681 w 691"/>
                  <a:gd name="T47" fmla="*/ 262 h 628"/>
                  <a:gd name="T48" fmla="*/ 687 w 691"/>
                  <a:gd name="T49" fmla="*/ 205 h 628"/>
                  <a:gd name="T50" fmla="*/ 663 w 691"/>
                  <a:gd name="T51" fmla="*/ 149 h 628"/>
                  <a:gd name="T52" fmla="*/ 636 w 691"/>
                  <a:gd name="T53" fmla="*/ 109 h 628"/>
                  <a:gd name="T54" fmla="*/ 666 w 691"/>
                  <a:gd name="T55" fmla="*/ 33 h 628"/>
                  <a:gd name="T56" fmla="*/ 691 w 691"/>
                  <a:gd name="T57" fmla="*/ 3 h 628"/>
                  <a:gd name="T58" fmla="*/ 675 w 691"/>
                  <a:gd name="T59" fmla="*/ 0 h 628"/>
                  <a:gd name="T60" fmla="*/ 609 w 691"/>
                  <a:gd name="T61" fmla="*/ 70 h 628"/>
                  <a:gd name="T62" fmla="*/ 570 w 691"/>
                  <a:gd name="T63" fmla="*/ 103 h 628"/>
                  <a:gd name="T64" fmla="*/ 523 w 691"/>
                  <a:gd name="T65" fmla="*/ 103 h 628"/>
                  <a:gd name="T66" fmla="*/ 483 w 691"/>
                  <a:gd name="T67" fmla="*/ 128 h 628"/>
                  <a:gd name="T68" fmla="*/ 420 w 691"/>
                  <a:gd name="T69" fmla="*/ 198 h 628"/>
                  <a:gd name="T70" fmla="*/ 355 w 691"/>
                  <a:gd name="T71" fmla="*/ 298 h 628"/>
                  <a:gd name="T72" fmla="*/ 228 w 691"/>
                  <a:gd name="T73" fmla="*/ 313 h 628"/>
                  <a:gd name="T74" fmla="*/ 189 w 691"/>
                  <a:gd name="T75" fmla="*/ 340 h 628"/>
                  <a:gd name="T76" fmla="*/ 102 w 691"/>
                  <a:gd name="T77" fmla="*/ 356 h 628"/>
                  <a:gd name="T78" fmla="*/ 23 w 691"/>
                  <a:gd name="T79" fmla="*/ 423 h 628"/>
                  <a:gd name="T80" fmla="*/ 9 w 691"/>
                  <a:gd name="T81" fmla="*/ 513 h 628"/>
                  <a:gd name="T82" fmla="*/ 0 w 691"/>
                  <a:gd name="T83" fmla="*/ 544 h 628"/>
                  <a:gd name="T84" fmla="*/ 30 w 691"/>
                  <a:gd name="T85" fmla="*/ 557 h 628"/>
                  <a:gd name="T86" fmla="*/ 61 w 691"/>
                  <a:gd name="T87" fmla="*/ 599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91" h="628">
                    <a:moveTo>
                      <a:pt x="61" y="599"/>
                    </a:moveTo>
                    <a:lnTo>
                      <a:pt x="87" y="583"/>
                    </a:lnTo>
                    <a:lnTo>
                      <a:pt x="77" y="619"/>
                    </a:lnTo>
                    <a:lnTo>
                      <a:pt x="111" y="628"/>
                    </a:lnTo>
                    <a:lnTo>
                      <a:pt x="114" y="583"/>
                    </a:lnTo>
                    <a:lnTo>
                      <a:pt x="94" y="563"/>
                    </a:lnTo>
                    <a:lnTo>
                      <a:pt x="94" y="549"/>
                    </a:lnTo>
                    <a:lnTo>
                      <a:pt x="59" y="524"/>
                    </a:lnTo>
                    <a:lnTo>
                      <a:pt x="69" y="470"/>
                    </a:lnTo>
                    <a:lnTo>
                      <a:pt x="149" y="442"/>
                    </a:lnTo>
                    <a:lnTo>
                      <a:pt x="172" y="402"/>
                    </a:lnTo>
                    <a:lnTo>
                      <a:pt x="254" y="355"/>
                    </a:lnTo>
                    <a:lnTo>
                      <a:pt x="266" y="399"/>
                    </a:lnTo>
                    <a:lnTo>
                      <a:pt x="312" y="421"/>
                    </a:lnTo>
                    <a:lnTo>
                      <a:pt x="378" y="374"/>
                    </a:lnTo>
                    <a:lnTo>
                      <a:pt x="422" y="386"/>
                    </a:lnTo>
                    <a:lnTo>
                      <a:pt x="448" y="360"/>
                    </a:lnTo>
                    <a:lnTo>
                      <a:pt x="498" y="373"/>
                    </a:lnTo>
                    <a:lnTo>
                      <a:pt x="552" y="379"/>
                    </a:lnTo>
                    <a:lnTo>
                      <a:pt x="582" y="409"/>
                    </a:lnTo>
                    <a:lnTo>
                      <a:pt x="599" y="419"/>
                    </a:lnTo>
                    <a:lnTo>
                      <a:pt x="605" y="389"/>
                    </a:lnTo>
                    <a:lnTo>
                      <a:pt x="638" y="325"/>
                    </a:lnTo>
                    <a:lnTo>
                      <a:pt x="681" y="262"/>
                    </a:lnTo>
                    <a:lnTo>
                      <a:pt x="687" y="205"/>
                    </a:lnTo>
                    <a:lnTo>
                      <a:pt x="663" y="149"/>
                    </a:lnTo>
                    <a:lnTo>
                      <a:pt x="636" y="109"/>
                    </a:lnTo>
                    <a:lnTo>
                      <a:pt x="666" y="33"/>
                    </a:lnTo>
                    <a:lnTo>
                      <a:pt x="691" y="3"/>
                    </a:lnTo>
                    <a:lnTo>
                      <a:pt x="675" y="0"/>
                    </a:lnTo>
                    <a:lnTo>
                      <a:pt x="609" y="70"/>
                    </a:lnTo>
                    <a:lnTo>
                      <a:pt x="570" y="103"/>
                    </a:lnTo>
                    <a:lnTo>
                      <a:pt x="523" y="103"/>
                    </a:lnTo>
                    <a:lnTo>
                      <a:pt x="483" y="128"/>
                    </a:lnTo>
                    <a:lnTo>
                      <a:pt x="420" y="198"/>
                    </a:lnTo>
                    <a:lnTo>
                      <a:pt x="355" y="298"/>
                    </a:lnTo>
                    <a:lnTo>
                      <a:pt x="228" y="313"/>
                    </a:lnTo>
                    <a:lnTo>
                      <a:pt x="189" y="340"/>
                    </a:lnTo>
                    <a:lnTo>
                      <a:pt x="102" y="356"/>
                    </a:lnTo>
                    <a:lnTo>
                      <a:pt x="23" y="423"/>
                    </a:lnTo>
                    <a:lnTo>
                      <a:pt x="9" y="513"/>
                    </a:lnTo>
                    <a:lnTo>
                      <a:pt x="0" y="544"/>
                    </a:lnTo>
                    <a:lnTo>
                      <a:pt x="30" y="557"/>
                    </a:lnTo>
                    <a:lnTo>
                      <a:pt x="61" y="599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6" name="Freeform 125">
                <a:extLst>
                  <a:ext uri="{FF2B5EF4-FFF2-40B4-BE49-F238E27FC236}">
                    <a16:creationId xmlns:a16="http://schemas.microsoft.com/office/drawing/2014/main" id="{11270D63-533C-4540-A5F8-52023FC21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1125" y="3536950"/>
                <a:ext cx="42863" cy="26988"/>
              </a:xfrm>
              <a:custGeom>
                <a:avLst/>
                <a:gdLst>
                  <a:gd name="T0" fmla="*/ 37 w 137"/>
                  <a:gd name="T1" fmla="*/ 0 h 87"/>
                  <a:gd name="T2" fmla="*/ 54 w 137"/>
                  <a:gd name="T3" fmla="*/ 34 h 87"/>
                  <a:gd name="T4" fmla="*/ 0 w 137"/>
                  <a:gd name="T5" fmla="*/ 57 h 87"/>
                  <a:gd name="T6" fmla="*/ 35 w 137"/>
                  <a:gd name="T7" fmla="*/ 87 h 87"/>
                  <a:gd name="T8" fmla="*/ 64 w 137"/>
                  <a:gd name="T9" fmla="*/ 57 h 87"/>
                  <a:gd name="T10" fmla="*/ 97 w 137"/>
                  <a:gd name="T11" fmla="*/ 44 h 87"/>
                  <a:gd name="T12" fmla="*/ 137 w 137"/>
                  <a:gd name="T13" fmla="*/ 49 h 87"/>
                  <a:gd name="T14" fmla="*/ 124 w 137"/>
                  <a:gd name="T15" fmla="*/ 27 h 87"/>
                  <a:gd name="T16" fmla="*/ 37 w 137"/>
                  <a:gd name="T17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7" h="87">
                    <a:moveTo>
                      <a:pt x="37" y="0"/>
                    </a:moveTo>
                    <a:lnTo>
                      <a:pt x="54" y="34"/>
                    </a:lnTo>
                    <a:lnTo>
                      <a:pt x="0" y="57"/>
                    </a:lnTo>
                    <a:lnTo>
                      <a:pt x="35" y="87"/>
                    </a:lnTo>
                    <a:lnTo>
                      <a:pt x="64" y="57"/>
                    </a:lnTo>
                    <a:lnTo>
                      <a:pt x="97" y="44"/>
                    </a:lnTo>
                    <a:lnTo>
                      <a:pt x="137" y="49"/>
                    </a:lnTo>
                    <a:lnTo>
                      <a:pt x="124" y="27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7" name="Freeform 126">
                <a:extLst>
                  <a:ext uri="{FF2B5EF4-FFF2-40B4-BE49-F238E27FC236}">
                    <a16:creationId xmlns:a16="http://schemas.microsoft.com/office/drawing/2014/main" id="{7FDF5381-436A-408C-AAF1-B80B9E861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8263" y="3548063"/>
                <a:ext cx="41275" cy="53975"/>
              </a:xfrm>
              <a:custGeom>
                <a:avLst/>
                <a:gdLst>
                  <a:gd name="T0" fmla="*/ 50 w 127"/>
                  <a:gd name="T1" fmla="*/ 37 h 166"/>
                  <a:gd name="T2" fmla="*/ 23 w 127"/>
                  <a:gd name="T3" fmla="*/ 0 h 166"/>
                  <a:gd name="T4" fmla="*/ 0 w 127"/>
                  <a:gd name="T5" fmla="*/ 5 h 166"/>
                  <a:gd name="T6" fmla="*/ 40 w 127"/>
                  <a:gd name="T7" fmla="*/ 80 h 166"/>
                  <a:gd name="T8" fmla="*/ 30 w 127"/>
                  <a:gd name="T9" fmla="*/ 104 h 166"/>
                  <a:gd name="T10" fmla="*/ 51 w 127"/>
                  <a:gd name="T11" fmla="*/ 166 h 166"/>
                  <a:gd name="T12" fmla="*/ 74 w 127"/>
                  <a:gd name="T13" fmla="*/ 136 h 166"/>
                  <a:gd name="T14" fmla="*/ 96 w 127"/>
                  <a:gd name="T15" fmla="*/ 106 h 166"/>
                  <a:gd name="T16" fmla="*/ 127 w 127"/>
                  <a:gd name="T17" fmla="*/ 63 h 166"/>
                  <a:gd name="T18" fmla="*/ 83 w 127"/>
                  <a:gd name="T19" fmla="*/ 17 h 166"/>
                  <a:gd name="T20" fmla="*/ 50 w 127"/>
                  <a:gd name="T21" fmla="*/ 3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7" h="166">
                    <a:moveTo>
                      <a:pt x="50" y="37"/>
                    </a:moveTo>
                    <a:lnTo>
                      <a:pt x="23" y="0"/>
                    </a:lnTo>
                    <a:lnTo>
                      <a:pt x="0" y="5"/>
                    </a:lnTo>
                    <a:lnTo>
                      <a:pt x="40" y="80"/>
                    </a:lnTo>
                    <a:lnTo>
                      <a:pt x="30" y="104"/>
                    </a:lnTo>
                    <a:lnTo>
                      <a:pt x="51" y="166"/>
                    </a:lnTo>
                    <a:lnTo>
                      <a:pt x="74" y="136"/>
                    </a:lnTo>
                    <a:lnTo>
                      <a:pt x="96" y="106"/>
                    </a:lnTo>
                    <a:lnTo>
                      <a:pt x="127" y="63"/>
                    </a:lnTo>
                    <a:lnTo>
                      <a:pt x="83" y="17"/>
                    </a:lnTo>
                    <a:lnTo>
                      <a:pt x="50" y="3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8" name="Freeform 127">
                <a:extLst>
                  <a:ext uri="{FF2B5EF4-FFF2-40B4-BE49-F238E27FC236}">
                    <a16:creationId xmlns:a16="http://schemas.microsoft.com/office/drawing/2014/main" id="{232A7B8F-CA10-4DBC-BFCA-73A9E0B601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6350" y="3554413"/>
                <a:ext cx="71438" cy="44450"/>
              </a:xfrm>
              <a:custGeom>
                <a:avLst/>
                <a:gdLst>
                  <a:gd name="T0" fmla="*/ 190 w 225"/>
                  <a:gd name="T1" fmla="*/ 45 h 140"/>
                  <a:gd name="T2" fmla="*/ 190 w 225"/>
                  <a:gd name="T3" fmla="*/ 45 h 140"/>
                  <a:gd name="T4" fmla="*/ 185 w 225"/>
                  <a:gd name="T5" fmla="*/ 42 h 140"/>
                  <a:gd name="T6" fmla="*/ 176 w 225"/>
                  <a:gd name="T7" fmla="*/ 41 h 140"/>
                  <a:gd name="T8" fmla="*/ 152 w 225"/>
                  <a:gd name="T9" fmla="*/ 40 h 140"/>
                  <a:gd name="T10" fmla="*/ 129 w 225"/>
                  <a:gd name="T11" fmla="*/ 40 h 140"/>
                  <a:gd name="T12" fmla="*/ 120 w 225"/>
                  <a:gd name="T13" fmla="*/ 40 h 140"/>
                  <a:gd name="T14" fmla="*/ 113 w 225"/>
                  <a:gd name="T15" fmla="*/ 39 h 140"/>
                  <a:gd name="T16" fmla="*/ 113 w 225"/>
                  <a:gd name="T17" fmla="*/ 39 h 140"/>
                  <a:gd name="T18" fmla="*/ 98 w 225"/>
                  <a:gd name="T19" fmla="*/ 31 h 140"/>
                  <a:gd name="T20" fmla="*/ 71 w 225"/>
                  <a:gd name="T21" fmla="*/ 18 h 140"/>
                  <a:gd name="T22" fmla="*/ 36 w 225"/>
                  <a:gd name="T23" fmla="*/ 0 h 140"/>
                  <a:gd name="T24" fmla="*/ 0 w 225"/>
                  <a:gd name="T25" fmla="*/ 10 h 140"/>
                  <a:gd name="T26" fmla="*/ 1 w 225"/>
                  <a:gd name="T27" fmla="*/ 30 h 140"/>
                  <a:gd name="T28" fmla="*/ 48 w 225"/>
                  <a:gd name="T29" fmla="*/ 62 h 140"/>
                  <a:gd name="T30" fmla="*/ 1 w 225"/>
                  <a:gd name="T31" fmla="*/ 67 h 140"/>
                  <a:gd name="T32" fmla="*/ 1 w 225"/>
                  <a:gd name="T33" fmla="*/ 89 h 140"/>
                  <a:gd name="T34" fmla="*/ 78 w 225"/>
                  <a:gd name="T35" fmla="*/ 116 h 140"/>
                  <a:gd name="T36" fmla="*/ 98 w 225"/>
                  <a:gd name="T37" fmla="*/ 138 h 140"/>
                  <a:gd name="T38" fmla="*/ 155 w 225"/>
                  <a:gd name="T39" fmla="*/ 138 h 140"/>
                  <a:gd name="T40" fmla="*/ 225 w 225"/>
                  <a:gd name="T41" fmla="*/ 140 h 140"/>
                  <a:gd name="T42" fmla="*/ 205 w 225"/>
                  <a:gd name="T43" fmla="*/ 95 h 140"/>
                  <a:gd name="T44" fmla="*/ 205 w 225"/>
                  <a:gd name="T45" fmla="*/ 95 h 140"/>
                  <a:gd name="T46" fmla="*/ 204 w 225"/>
                  <a:gd name="T47" fmla="*/ 88 h 140"/>
                  <a:gd name="T48" fmla="*/ 201 w 225"/>
                  <a:gd name="T49" fmla="*/ 72 h 140"/>
                  <a:gd name="T50" fmla="*/ 199 w 225"/>
                  <a:gd name="T51" fmla="*/ 64 h 140"/>
                  <a:gd name="T52" fmla="*/ 197 w 225"/>
                  <a:gd name="T53" fmla="*/ 56 h 140"/>
                  <a:gd name="T54" fmla="*/ 194 w 225"/>
                  <a:gd name="T55" fmla="*/ 49 h 140"/>
                  <a:gd name="T56" fmla="*/ 190 w 225"/>
                  <a:gd name="T57" fmla="*/ 45 h 140"/>
                  <a:gd name="T58" fmla="*/ 190 w 225"/>
                  <a:gd name="T59" fmla="*/ 45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5" h="140">
                    <a:moveTo>
                      <a:pt x="190" y="45"/>
                    </a:moveTo>
                    <a:lnTo>
                      <a:pt x="190" y="45"/>
                    </a:lnTo>
                    <a:lnTo>
                      <a:pt x="185" y="42"/>
                    </a:lnTo>
                    <a:lnTo>
                      <a:pt x="176" y="41"/>
                    </a:lnTo>
                    <a:lnTo>
                      <a:pt x="152" y="40"/>
                    </a:lnTo>
                    <a:lnTo>
                      <a:pt x="129" y="40"/>
                    </a:lnTo>
                    <a:lnTo>
                      <a:pt x="120" y="40"/>
                    </a:lnTo>
                    <a:lnTo>
                      <a:pt x="113" y="39"/>
                    </a:lnTo>
                    <a:lnTo>
                      <a:pt x="113" y="39"/>
                    </a:lnTo>
                    <a:lnTo>
                      <a:pt x="98" y="31"/>
                    </a:lnTo>
                    <a:lnTo>
                      <a:pt x="71" y="18"/>
                    </a:lnTo>
                    <a:lnTo>
                      <a:pt x="36" y="0"/>
                    </a:lnTo>
                    <a:lnTo>
                      <a:pt x="0" y="10"/>
                    </a:lnTo>
                    <a:lnTo>
                      <a:pt x="1" y="30"/>
                    </a:lnTo>
                    <a:lnTo>
                      <a:pt x="48" y="62"/>
                    </a:lnTo>
                    <a:lnTo>
                      <a:pt x="1" y="67"/>
                    </a:lnTo>
                    <a:lnTo>
                      <a:pt x="1" y="89"/>
                    </a:lnTo>
                    <a:lnTo>
                      <a:pt x="78" y="116"/>
                    </a:lnTo>
                    <a:lnTo>
                      <a:pt x="98" y="138"/>
                    </a:lnTo>
                    <a:lnTo>
                      <a:pt x="155" y="138"/>
                    </a:lnTo>
                    <a:lnTo>
                      <a:pt x="225" y="140"/>
                    </a:lnTo>
                    <a:lnTo>
                      <a:pt x="205" y="95"/>
                    </a:lnTo>
                    <a:lnTo>
                      <a:pt x="205" y="95"/>
                    </a:lnTo>
                    <a:lnTo>
                      <a:pt x="204" y="88"/>
                    </a:lnTo>
                    <a:lnTo>
                      <a:pt x="201" y="72"/>
                    </a:lnTo>
                    <a:lnTo>
                      <a:pt x="199" y="64"/>
                    </a:lnTo>
                    <a:lnTo>
                      <a:pt x="197" y="56"/>
                    </a:lnTo>
                    <a:lnTo>
                      <a:pt x="194" y="49"/>
                    </a:lnTo>
                    <a:lnTo>
                      <a:pt x="190" y="45"/>
                    </a:lnTo>
                    <a:lnTo>
                      <a:pt x="190" y="45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9" name="Freeform 128">
                <a:extLst>
                  <a:ext uri="{FF2B5EF4-FFF2-40B4-BE49-F238E27FC236}">
                    <a16:creationId xmlns:a16="http://schemas.microsoft.com/office/drawing/2014/main" id="{683CB551-44E9-4ED8-9E17-E98E4804C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0838" y="3494088"/>
                <a:ext cx="46038" cy="52388"/>
              </a:xfrm>
              <a:custGeom>
                <a:avLst/>
                <a:gdLst>
                  <a:gd name="T0" fmla="*/ 132 w 146"/>
                  <a:gd name="T1" fmla="*/ 82 h 161"/>
                  <a:gd name="T2" fmla="*/ 35 w 146"/>
                  <a:gd name="T3" fmla="*/ 0 h 161"/>
                  <a:gd name="T4" fmla="*/ 5 w 146"/>
                  <a:gd name="T5" fmla="*/ 30 h 161"/>
                  <a:gd name="T6" fmla="*/ 0 w 146"/>
                  <a:gd name="T7" fmla="*/ 93 h 161"/>
                  <a:gd name="T8" fmla="*/ 127 w 146"/>
                  <a:gd name="T9" fmla="*/ 161 h 161"/>
                  <a:gd name="T10" fmla="*/ 146 w 146"/>
                  <a:gd name="T11" fmla="*/ 99 h 161"/>
                  <a:gd name="T12" fmla="*/ 132 w 146"/>
                  <a:gd name="T13" fmla="*/ 82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161">
                    <a:moveTo>
                      <a:pt x="132" y="82"/>
                    </a:moveTo>
                    <a:lnTo>
                      <a:pt x="35" y="0"/>
                    </a:lnTo>
                    <a:lnTo>
                      <a:pt x="5" y="30"/>
                    </a:lnTo>
                    <a:lnTo>
                      <a:pt x="0" y="93"/>
                    </a:lnTo>
                    <a:lnTo>
                      <a:pt x="127" y="161"/>
                    </a:lnTo>
                    <a:lnTo>
                      <a:pt x="146" y="99"/>
                    </a:lnTo>
                    <a:lnTo>
                      <a:pt x="132" y="8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0" name="Freeform 129">
                <a:extLst>
                  <a:ext uri="{FF2B5EF4-FFF2-40B4-BE49-F238E27FC236}">
                    <a16:creationId xmlns:a16="http://schemas.microsoft.com/office/drawing/2014/main" id="{36F62CEE-A1D2-4F41-8CB7-A3B6C4AB3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7288" y="3443288"/>
                <a:ext cx="100013" cy="96838"/>
              </a:xfrm>
              <a:custGeom>
                <a:avLst/>
                <a:gdLst>
                  <a:gd name="T0" fmla="*/ 265 w 317"/>
                  <a:gd name="T1" fmla="*/ 277 h 309"/>
                  <a:gd name="T2" fmla="*/ 298 w 317"/>
                  <a:gd name="T3" fmla="*/ 251 h 309"/>
                  <a:gd name="T4" fmla="*/ 317 w 317"/>
                  <a:gd name="T5" fmla="*/ 207 h 309"/>
                  <a:gd name="T6" fmla="*/ 304 w 317"/>
                  <a:gd name="T7" fmla="*/ 158 h 309"/>
                  <a:gd name="T8" fmla="*/ 237 w 317"/>
                  <a:gd name="T9" fmla="*/ 132 h 309"/>
                  <a:gd name="T10" fmla="*/ 224 w 317"/>
                  <a:gd name="T11" fmla="*/ 96 h 309"/>
                  <a:gd name="T12" fmla="*/ 210 w 317"/>
                  <a:gd name="T13" fmla="*/ 79 h 309"/>
                  <a:gd name="T14" fmla="*/ 199 w 317"/>
                  <a:gd name="T15" fmla="*/ 59 h 309"/>
                  <a:gd name="T16" fmla="*/ 189 w 317"/>
                  <a:gd name="T17" fmla="*/ 30 h 309"/>
                  <a:gd name="T18" fmla="*/ 112 w 317"/>
                  <a:gd name="T19" fmla="*/ 0 h 309"/>
                  <a:gd name="T20" fmla="*/ 83 w 317"/>
                  <a:gd name="T21" fmla="*/ 50 h 309"/>
                  <a:gd name="T22" fmla="*/ 47 w 317"/>
                  <a:gd name="T23" fmla="*/ 61 h 309"/>
                  <a:gd name="T24" fmla="*/ 6 w 317"/>
                  <a:gd name="T25" fmla="*/ 41 h 309"/>
                  <a:gd name="T26" fmla="*/ 0 w 317"/>
                  <a:gd name="T27" fmla="*/ 98 h 309"/>
                  <a:gd name="T28" fmla="*/ 31 w 317"/>
                  <a:gd name="T29" fmla="*/ 140 h 309"/>
                  <a:gd name="T30" fmla="*/ 84 w 317"/>
                  <a:gd name="T31" fmla="*/ 177 h 309"/>
                  <a:gd name="T32" fmla="*/ 91 w 317"/>
                  <a:gd name="T33" fmla="*/ 229 h 309"/>
                  <a:gd name="T34" fmla="*/ 128 w 317"/>
                  <a:gd name="T35" fmla="*/ 236 h 309"/>
                  <a:gd name="T36" fmla="*/ 105 w 317"/>
                  <a:gd name="T37" fmla="*/ 256 h 309"/>
                  <a:gd name="T38" fmla="*/ 146 w 317"/>
                  <a:gd name="T39" fmla="*/ 302 h 309"/>
                  <a:gd name="T40" fmla="*/ 211 w 317"/>
                  <a:gd name="T41" fmla="*/ 309 h 309"/>
                  <a:gd name="T42" fmla="*/ 265 w 317"/>
                  <a:gd name="T43" fmla="*/ 277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7" h="309">
                    <a:moveTo>
                      <a:pt x="265" y="277"/>
                    </a:moveTo>
                    <a:lnTo>
                      <a:pt x="298" y="251"/>
                    </a:lnTo>
                    <a:lnTo>
                      <a:pt x="317" y="207"/>
                    </a:lnTo>
                    <a:lnTo>
                      <a:pt x="304" y="158"/>
                    </a:lnTo>
                    <a:lnTo>
                      <a:pt x="237" y="132"/>
                    </a:lnTo>
                    <a:lnTo>
                      <a:pt x="224" y="96"/>
                    </a:lnTo>
                    <a:lnTo>
                      <a:pt x="210" y="79"/>
                    </a:lnTo>
                    <a:lnTo>
                      <a:pt x="199" y="59"/>
                    </a:lnTo>
                    <a:lnTo>
                      <a:pt x="189" y="30"/>
                    </a:lnTo>
                    <a:lnTo>
                      <a:pt x="112" y="0"/>
                    </a:lnTo>
                    <a:lnTo>
                      <a:pt x="83" y="50"/>
                    </a:lnTo>
                    <a:lnTo>
                      <a:pt x="47" y="61"/>
                    </a:lnTo>
                    <a:lnTo>
                      <a:pt x="6" y="41"/>
                    </a:lnTo>
                    <a:lnTo>
                      <a:pt x="0" y="98"/>
                    </a:lnTo>
                    <a:lnTo>
                      <a:pt x="31" y="140"/>
                    </a:lnTo>
                    <a:lnTo>
                      <a:pt x="84" y="177"/>
                    </a:lnTo>
                    <a:lnTo>
                      <a:pt x="91" y="229"/>
                    </a:lnTo>
                    <a:lnTo>
                      <a:pt x="128" y="236"/>
                    </a:lnTo>
                    <a:lnTo>
                      <a:pt x="105" y="256"/>
                    </a:lnTo>
                    <a:lnTo>
                      <a:pt x="146" y="302"/>
                    </a:lnTo>
                    <a:lnTo>
                      <a:pt x="211" y="309"/>
                    </a:lnTo>
                    <a:lnTo>
                      <a:pt x="265" y="277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1" name="Freeform 130">
                <a:extLst>
                  <a:ext uri="{FF2B5EF4-FFF2-40B4-BE49-F238E27FC236}">
                    <a16:creationId xmlns:a16="http://schemas.microsoft.com/office/drawing/2014/main" id="{D6597609-9DD2-470E-A1B3-C70DA1A0D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2525" y="3529013"/>
                <a:ext cx="25400" cy="46038"/>
              </a:xfrm>
              <a:custGeom>
                <a:avLst/>
                <a:gdLst>
                  <a:gd name="T0" fmla="*/ 6 w 80"/>
                  <a:gd name="T1" fmla="*/ 0 h 141"/>
                  <a:gd name="T2" fmla="*/ 16 w 80"/>
                  <a:gd name="T3" fmla="*/ 39 h 141"/>
                  <a:gd name="T4" fmla="*/ 0 w 80"/>
                  <a:gd name="T5" fmla="*/ 42 h 141"/>
                  <a:gd name="T6" fmla="*/ 13 w 80"/>
                  <a:gd name="T7" fmla="*/ 86 h 141"/>
                  <a:gd name="T8" fmla="*/ 11 w 80"/>
                  <a:gd name="T9" fmla="*/ 106 h 141"/>
                  <a:gd name="T10" fmla="*/ 58 w 80"/>
                  <a:gd name="T11" fmla="*/ 141 h 141"/>
                  <a:gd name="T12" fmla="*/ 80 w 80"/>
                  <a:gd name="T13" fmla="*/ 88 h 141"/>
                  <a:gd name="T14" fmla="*/ 77 w 80"/>
                  <a:gd name="T15" fmla="*/ 59 h 141"/>
                  <a:gd name="T16" fmla="*/ 6 w 80"/>
                  <a:gd name="T17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141">
                    <a:moveTo>
                      <a:pt x="6" y="0"/>
                    </a:moveTo>
                    <a:lnTo>
                      <a:pt x="16" y="39"/>
                    </a:lnTo>
                    <a:lnTo>
                      <a:pt x="0" y="42"/>
                    </a:lnTo>
                    <a:lnTo>
                      <a:pt x="13" y="86"/>
                    </a:lnTo>
                    <a:lnTo>
                      <a:pt x="11" y="106"/>
                    </a:lnTo>
                    <a:lnTo>
                      <a:pt x="58" y="141"/>
                    </a:lnTo>
                    <a:lnTo>
                      <a:pt x="80" y="88"/>
                    </a:lnTo>
                    <a:lnTo>
                      <a:pt x="77" y="59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2" name="Freeform 131">
                <a:extLst>
                  <a:ext uri="{FF2B5EF4-FFF2-40B4-BE49-F238E27FC236}">
                    <a16:creationId xmlns:a16="http://schemas.microsoft.com/office/drawing/2014/main" id="{27C0BB72-7C0C-4508-AFA4-D8AC21C3E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1425" y="3519488"/>
                <a:ext cx="28575" cy="68263"/>
              </a:xfrm>
              <a:custGeom>
                <a:avLst/>
                <a:gdLst>
                  <a:gd name="T0" fmla="*/ 33 w 90"/>
                  <a:gd name="T1" fmla="*/ 73 h 216"/>
                  <a:gd name="T2" fmla="*/ 7 w 90"/>
                  <a:gd name="T3" fmla="*/ 123 h 216"/>
                  <a:gd name="T4" fmla="*/ 0 w 90"/>
                  <a:gd name="T5" fmla="*/ 173 h 216"/>
                  <a:gd name="T6" fmla="*/ 7 w 90"/>
                  <a:gd name="T7" fmla="*/ 216 h 216"/>
                  <a:gd name="T8" fmla="*/ 31 w 90"/>
                  <a:gd name="T9" fmla="*/ 186 h 216"/>
                  <a:gd name="T10" fmla="*/ 66 w 90"/>
                  <a:gd name="T11" fmla="*/ 105 h 216"/>
                  <a:gd name="T12" fmla="*/ 90 w 90"/>
                  <a:gd name="T13" fmla="*/ 43 h 216"/>
                  <a:gd name="T14" fmla="*/ 88 w 90"/>
                  <a:gd name="T15" fmla="*/ 0 h 216"/>
                  <a:gd name="T16" fmla="*/ 33 w 90"/>
                  <a:gd name="T17" fmla="*/ 73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" h="216">
                    <a:moveTo>
                      <a:pt x="33" y="73"/>
                    </a:moveTo>
                    <a:lnTo>
                      <a:pt x="7" y="123"/>
                    </a:lnTo>
                    <a:lnTo>
                      <a:pt x="0" y="173"/>
                    </a:lnTo>
                    <a:lnTo>
                      <a:pt x="7" y="216"/>
                    </a:lnTo>
                    <a:lnTo>
                      <a:pt x="31" y="186"/>
                    </a:lnTo>
                    <a:lnTo>
                      <a:pt x="66" y="105"/>
                    </a:lnTo>
                    <a:lnTo>
                      <a:pt x="90" y="43"/>
                    </a:lnTo>
                    <a:lnTo>
                      <a:pt x="88" y="0"/>
                    </a:lnTo>
                    <a:lnTo>
                      <a:pt x="33" y="7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3" name="Freeform 132">
                <a:extLst>
                  <a:ext uri="{FF2B5EF4-FFF2-40B4-BE49-F238E27FC236}">
                    <a16:creationId xmlns:a16="http://schemas.microsoft.com/office/drawing/2014/main" id="{D9A828EE-A645-4390-B533-D8BFC314F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0" y="3556000"/>
                <a:ext cx="22225" cy="20638"/>
              </a:xfrm>
              <a:custGeom>
                <a:avLst/>
                <a:gdLst>
                  <a:gd name="T0" fmla="*/ 20 w 70"/>
                  <a:gd name="T1" fmla="*/ 53 h 66"/>
                  <a:gd name="T2" fmla="*/ 60 w 70"/>
                  <a:gd name="T3" fmla="*/ 66 h 66"/>
                  <a:gd name="T4" fmla="*/ 70 w 70"/>
                  <a:gd name="T5" fmla="*/ 26 h 66"/>
                  <a:gd name="T6" fmla="*/ 0 w 70"/>
                  <a:gd name="T7" fmla="*/ 0 h 66"/>
                  <a:gd name="T8" fmla="*/ 20 w 70"/>
                  <a:gd name="T9" fmla="*/ 5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6">
                    <a:moveTo>
                      <a:pt x="20" y="53"/>
                    </a:moveTo>
                    <a:lnTo>
                      <a:pt x="60" y="66"/>
                    </a:lnTo>
                    <a:lnTo>
                      <a:pt x="70" y="26"/>
                    </a:lnTo>
                    <a:lnTo>
                      <a:pt x="0" y="0"/>
                    </a:lnTo>
                    <a:lnTo>
                      <a:pt x="20" y="5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4" name="Freeform 133">
                <a:extLst>
                  <a:ext uri="{FF2B5EF4-FFF2-40B4-BE49-F238E27FC236}">
                    <a16:creationId xmlns:a16="http://schemas.microsoft.com/office/drawing/2014/main" id="{C3E15C68-C6FF-429D-B9FF-1953E28E8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3488" y="3535363"/>
                <a:ext cx="12700" cy="19050"/>
              </a:xfrm>
              <a:custGeom>
                <a:avLst/>
                <a:gdLst>
                  <a:gd name="T0" fmla="*/ 0 w 40"/>
                  <a:gd name="T1" fmla="*/ 30 h 60"/>
                  <a:gd name="T2" fmla="*/ 11 w 40"/>
                  <a:gd name="T3" fmla="*/ 60 h 60"/>
                  <a:gd name="T4" fmla="*/ 40 w 40"/>
                  <a:gd name="T5" fmla="*/ 0 h 60"/>
                  <a:gd name="T6" fmla="*/ 0 w 40"/>
                  <a:gd name="T7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60">
                    <a:moveTo>
                      <a:pt x="0" y="30"/>
                    </a:moveTo>
                    <a:lnTo>
                      <a:pt x="11" y="60"/>
                    </a:lnTo>
                    <a:lnTo>
                      <a:pt x="40" y="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5" name="Freeform 116">
                <a:extLst>
                  <a:ext uri="{FF2B5EF4-FFF2-40B4-BE49-F238E27FC236}">
                    <a16:creationId xmlns:a16="http://schemas.microsoft.com/office/drawing/2014/main" id="{2650910B-25D2-4D29-8F8A-D659B571B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050" y="3511550"/>
                <a:ext cx="6350" cy="26988"/>
              </a:xfrm>
              <a:custGeom>
                <a:avLst/>
                <a:gdLst>
                  <a:gd name="T0" fmla="*/ 0 w 23"/>
                  <a:gd name="T1" fmla="*/ 54 h 87"/>
                  <a:gd name="T2" fmla="*/ 0 w 23"/>
                  <a:gd name="T3" fmla="*/ 87 h 87"/>
                  <a:gd name="T4" fmla="*/ 20 w 23"/>
                  <a:gd name="T5" fmla="*/ 60 h 87"/>
                  <a:gd name="T6" fmla="*/ 23 w 23"/>
                  <a:gd name="T7" fmla="*/ 30 h 87"/>
                  <a:gd name="T8" fmla="*/ 13 w 23"/>
                  <a:gd name="T9" fmla="*/ 0 h 87"/>
                  <a:gd name="T10" fmla="*/ 0 w 23"/>
                  <a:gd name="T11" fmla="*/ 5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87">
                    <a:moveTo>
                      <a:pt x="0" y="54"/>
                    </a:moveTo>
                    <a:lnTo>
                      <a:pt x="0" y="87"/>
                    </a:lnTo>
                    <a:lnTo>
                      <a:pt x="20" y="60"/>
                    </a:lnTo>
                    <a:lnTo>
                      <a:pt x="23" y="30"/>
                    </a:lnTo>
                    <a:lnTo>
                      <a:pt x="13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AF1ED28A-8F5C-4976-8F5C-883964456847}"/>
                </a:ext>
              </a:extLst>
            </p:cNvPr>
            <p:cNvGrpSpPr/>
            <p:nvPr/>
          </p:nvGrpSpPr>
          <p:grpSpPr>
            <a:xfrm>
              <a:off x="3344863" y="3546475"/>
              <a:ext cx="860425" cy="1158875"/>
              <a:chOff x="3344863" y="3546475"/>
              <a:chExt cx="860425" cy="1158875"/>
            </a:xfrm>
            <a:solidFill>
              <a:srgbClr val="1D2631">
                <a:lumMod val="75000"/>
                <a:lumOff val="25000"/>
              </a:srgbClr>
            </a:solidFill>
          </p:grpSpPr>
          <p:sp>
            <p:nvSpPr>
              <p:cNvPr id="77" name="Freeform 292">
                <a:extLst>
                  <a:ext uri="{FF2B5EF4-FFF2-40B4-BE49-F238E27FC236}">
                    <a16:creationId xmlns:a16="http://schemas.microsoft.com/office/drawing/2014/main" id="{02450D04-7416-46FF-9F53-9DEF17842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1463" y="3681413"/>
                <a:ext cx="69850" cy="58738"/>
              </a:xfrm>
              <a:custGeom>
                <a:avLst/>
                <a:gdLst>
                  <a:gd name="T0" fmla="*/ 30 w 217"/>
                  <a:gd name="T1" fmla="*/ 63 h 181"/>
                  <a:gd name="T2" fmla="*/ 0 w 217"/>
                  <a:gd name="T3" fmla="*/ 39 h 181"/>
                  <a:gd name="T4" fmla="*/ 22 w 217"/>
                  <a:gd name="T5" fmla="*/ 0 h 181"/>
                  <a:gd name="T6" fmla="*/ 74 w 217"/>
                  <a:gd name="T7" fmla="*/ 73 h 181"/>
                  <a:gd name="T8" fmla="*/ 107 w 217"/>
                  <a:gd name="T9" fmla="*/ 105 h 181"/>
                  <a:gd name="T10" fmla="*/ 167 w 217"/>
                  <a:gd name="T11" fmla="*/ 112 h 181"/>
                  <a:gd name="T12" fmla="*/ 204 w 217"/>
                  <a:gd name="T13" fmla="*/ 107 h 181"/>
                  <a:gd name="T14" fmla="*/ 197 w 217"/>
                  <a:gd name="T15" fmla="*/ 121 h 181"/>
                  <a:gd name="T16" fmla="*/ 217 w 217"/>
                  <a:gd name="T17" fmla="*/ 181 h 181"/>
                  <a:gd name="T18" fmla="*/ 181 w 217"/>
                  <a:gd name="T19" fmla="*/ 157 h 181"/>
                  <a:gd name="T20" fmla="*/ 137 w 217"/>
                  <a:gd name="T21" fmla="*/ 148 h 181"/>
                  <a:gd name="T22" fmla="*/ 104 w 217"/>
                  <a:gd name="T23" fmla="*/ 172 h 181"/>
                  <a:gd name="T24" fmla="*/ 70 w 217"/>
                  <a:gd name="T25" fmla="*/ 148 h 181"/>
                  <a:gd name="T26" fmla="*/ 70 w 217"/>
                  <a:gd name="T27" fmla="*/ 148 h 181"/>
                  <a:gd name="T28" fmla="*/ 68 w 217"/>
                  <a:gd name="T29" fmla="*/ 147 h 181"/>
                  <a:gd name="T30" fmla="*/ 60 w 217"/>
                  <a:gd name="T31" fmla="*/ 143 h 181"/>
                  <a:gd name="T32" fmla="*/ 54 w 217"/>
                  <a:gd name="T33" fmla="*/ 136 h 181"/>
                  <a:gd name="T34" fmla="*/ 51 w 217"/>
                  <a:gd name="T35" fmla="*/ 133 h 181"/>
                  <a:gd name="T36" fmla="*/ 50 w 217"/>
                  <a:gd name="T37" fmla="*/ 128 h 181"/>
                  <a:gd name="T38" fmla="*/ 50 w 217"/>
                  <a:gd name="T39" fmla="*/ 128 h 181"/>
                  <a:gd name="T40" fmla="*/ 53 w 217"/>
                  <a:gd name="T41" fmla="*/ 98 h 181"/>
                  <a:gd name="T42" fmla="*/ 54 w 217"/>
                  <a:gd name="T43" fmla="*/ 76 h 181"/>
                  <a:gd name="T44" fmla="*/ 30 w 217"/>
                  <a:gd name="T45" fmla="*/ 63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7" h="181">
                    <a:moveTo>
                      <a:pt x="30" y="63"/>
                    </a:moveTo>
                    <a:lnTo>
                      <a:pt x="0" y="39"/>
                    </a:lnTo>
                    <a:lnTo>
                      <a:pt x="22" y="0"/>
                    </a:lnTo>
                    <a:lnTo>
                      <a:pt x="74" y="73"/>
                    </a:lnTo>
                    <a:lnTo>
                      <a:pt x="107" y="105"/>
                    </a:lnTo>
                    <a:lnTo>
                      <a:pt x="167" y="112"/>
                    </a:lnTo>
                    <a:lnTo>
                      <a:pt x="204" y="107"/>
                    </a:lnTo>
                    <a:lnTo>
                      <a:pt x="197" y="121"/>
                    </a:lnTo>
                    <a:lnTo>
                      <a:pt x="217" y="181"/>
                    </a:lnTo>
                    <a:lnTo>
                      <a:pt x="181" y="157"/>
                    </a:lnTo>
                    <a:lnTo>
                      <a:pt x="137" y="148"/>
                    </a:lnTo>
                    <a:lnTo>
                      <a:pt x="104" y="172"/>
                    </a:lnTo>
                    <a:lnTo>
                      <a:pt x="70" y="148"/>
                    </a:lnTo>
                    <a:lnTo>
                      <a:pt x="70" y="148"/>
                    </a:lnTo>
                    <a:lnTo>
                      <a:pt x="68" y="147"/>
                    </a:lnTo>
                    <a:lnTo>
                      <a:pt x="60" y="143"/>
                    </a:lnTo>
                    <a:lnTo>
                      <a:pt x="54" y="136"/>
                    </a:lnTo>
                    <a:lnTo>
                      <a:pt x="51" y="133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53" y="98"/>
                    </a:lnTo>
                    <a:lnTo>
                      <a:pt x="54" y="76"/>
                    </a:lnTo>
                    <a:lnTo>
                      <a:pt x="30" y="6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78" name="Freeform 293">
                <a:extLst>
                  <a:ext uri="{FF2B5EF4-FFF2-40B4-BE49-F238E27FC236}">
                    <a16:creationId xmlns:a16="http://schemas.microsoft.com/office/drawing/2014/main" id="{014ABDC1-AA81-4831-B07B-15A3A3AA8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7963" y="3595688"/>
                <a:ext cx="52388" cy="71438"/>
              </a:xfrm>
              <a:custGeom>
                <a:avLst/>
                <a:gdLst>
                  <a:gd name="T0" fmla="*/ 0 w 167"/>
                  <a:gd name="T1" fmla="*/ 183 h 223"/>
                  <a:gd name="T2" fmla="*/ 43 w 167"/>
                  <a:gd name="T3" fmla="*/ 219 h 223"/>
                  <a:gd name="T4" fmla="*/ 43 w 167"/>
                  <a:gd name="T5" fmla="*/ 219 h 223"/>
                  <a:gd name="T6" fmla="*/ 44 w 167"/>
                  <a:gd name="T7" fmla="*/ 221 h 223"/>
                  <a:gd name="T8" fmla="*/ 47 w 167"/>
                  <a:gd name="T9" fmla="*/ 223 h 223"/>
                  <a:gd name="T10" fmla="*/ 51 w 167"/>
                  <a:gd name="T11" fmla="*/ 223 h 223"/>
                  <a:gd name="T12" fmla="*/ 53 w 167"/>
                  <a:gd name="T13" fmla="*/ 223 h 223"/>
                  <a:gd name="T14" fmla="*/ 56 w 167"/>
                  <a:gd name="T15" fmla="*/ 222 h 223"/>
                  <a:gd name="T16" fmla="*/ 60 w 167"/>
                  <a:gd name="T17" fmla="*/ 219 h 223"/>
                  <a:gd name="T18" fmla="*/ 60 w 167"/>
                  <a:gd name="T19" fmla="*/ 219 h 223"/>
                  <a:gd name="T20" fmla="*/ 70 w 167"/>
                  <a:gd name="T21" fmla="*/ 208 h 223"/>
                  <a:gd name="T22" fmla="*/ 80 w 167"/>
                  <a:gd name="T23" fmla="*/ 193 h 223"/>
                  <a:gd name="T24" fmla="*/ 93 w 167"/>
                  <a:gd name="T25" fmla="*/ 175 h 223"/>
                  <a:gd name="T26" fmla="*/ 120 w 167"/>
                  <a:gd name="T27" fmla="*/ 179 h 223"/>
                  <a:gd name="T28" fmla="*/ 147 w 167"/>
                  <a:gd name="T29" fmla="*/ 192 h 223"/>
                  <a:gd name="T30" fmla="*/ 167 w 167"/>
                  <a:gd name="T31" fmla="*/ 175 h 223"/>
                  <a:gd name="T32" fmla="*/ 145 w 167"/>
                  <a:gd name="T33" fmla="*/ 135 h 223"/>
                  <a:gd name="T34" fmla="*/ 125 w 167"/>
                  <a:gd name="T35" fmla="*/ 125 h 223"/>
                  <a:gd name="T36" fmla="*/ 142 w 167"/>
                  <a:gd name="T37" fmla="*/ 102 h 223"/>
                  <a:gd name="T38" fmla="*/ 149 w 167"/>
                  <a:gd name="T39" fmla="*/ 82 h 223"/>
                  <a:gd name="T40" fmla="*/ 132 w 167"/>
                  <a:gd name="T41" fmla="*/ 59 h 223"/>
                  <a:gd name="T42" fmla="*/ 92 w 167"/>
                  <a:gd name="T43" fmla="*/ 63 h 223"/>
                  <a:gd name="T44" fmla="*/ 72 w 167"/>
                  <a:gd name="T45" fmla="*/ 46 h 223"/>
                  <a:gd name="T46" fmla="*/ 72 w 167"/>
                  <a:gd name="T47" fmla="*/ 9 h 223"/>
                  <a:gd name="T48" fmla="*/ 25 w 167"/>
                  <a:gd name="T49" fmla="*/ 0 h 223"/>
                  <a:gd name="T50" fmla="*/ 8 w 167"/>
                  <a:gd name="T51" fmla="*/ 24 h 223"/>
                  <a:gd name="T52" fmla="*/ 12 w 167"/>
                  <a:gd name="T53" fmla="*/ 51 h 223"/>
                  <a:gd name="T54" fmla="*/ 55 w 167"/>
                  <a:gd name="T55" fmla="*/ 56 h 223"/>
                  <a:gd name="T56" fmla="*/ 102 w 167"/>
                  <a:gd name="T57" fmla="*/ 86 h 223"/>
                  <a:gd name="T58" fmla="*/ 99 w 167"/>
                  <a:gd name="T59" fmla="*/ 110 h 223"/>
                  <a:gd name="T60" fmla="*/ 69 w 167"/>
                  <a:gd name="T61" fmla="*/ 120 h 223"/>
                  <a:gd name="T62" fmla="*/ 35 w 167"/>
                  <a:gd name="T63" fmla="*/ 90 h 223"/>
                  <a:gd name="T64" fmla="*/ 15 w 167"/>
                  <a:gd name="T65" fmla="*/ 103 h 223"/>
                  <a:gd name="T66" fmla="*/ 30 w 167"/>
                  <a:gd name="T67" fmla="*/ 133 h 223"/>
                  <a:gd name="T68" fmla="*/ 13 w 167"/>
                  <a:gd name="T69" fmla="*/ 153 h 223"/>
                  <a:gd name="T70" fmla="*/ 0 w 167"/>
                  <a:gd name="T71" fmla="*/ 18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7" h="223">
                    <a:moveTo>
                      <a:pt x="0" y="183"/>
                    </a:moveTo>
                    <a:lnTo>
                      <a:pt x="43" y="219"/>
                    </a:lnTo>
                    <a:lnTo>
                      <a:pt x="43" y="219"/>
                    </a:lnTo>
                    <a:lnTo>
                      <a:pt x="44" y="221"/>
                    </a:lnTo>
                    <a:lnTo>
                      <a:pt x="47" y="223"/>
                    </a:lnTo>
                    <a:lnTo>
                      <a:pt x="51" y="223"/>
                    </a:lnTo>
                    <a:lnTo>
                      <a:pt x="53" y="223"/>
                    </a:lnTo>
                    <a:lnTo>
                      <a:pt x="56" y="222"/>
                    </a:lnTo>
                    <a:lnTo>
                      <a:pt x="60" y="219"/>
                    </a:lnTo>
                    <a:lnTo>
                      <a:pt x="60" y="219"/>
                    </a:lnTo>
                    <a:lnTo>
                      <a:pt x="70" y="208"/>
                    </a:lnTo>
                    <a:lnTo>
                      <a:pt x="80" y="193"/>
                    </a:lnTo>
                    <a:lnTo>
                      <a:pt x="93" y="175"/>
                    </a:lnTo>
                    <a:lnTo>
                      <a:pt x="120" y="179"/>
                    </a:lnTo>
                    <a:lnTo>
                      <a:pt x="147" y="192"/>
                    </a:lnTo>
                    <a:lnTo>
                      <a:pt x="167" y="175"/>
                    </a:lnTo>
                    <a:lnTo>
                      <a:pt x="145" y="135"/>
                    </a:lnTo>
                    <a:lnTo>
                      <a:pt x="125" y="125"/>
                    </a:lnTo>
                    <a:lnTo>
                      <a:pt x="142" y="102"/>
                    </a:lnTo>
                    <a:lnTo>
                      <a:pt x="149" y="82"/>
                    </a:lnTo>
                    <a:lnTo>
                      <a:pt x="132" y="59"/>
                    </a:lnTo>
                    <a:lnTo>
                      <a:pt x="92" y="63"/>
                    </a:lnTo>
                    <a:lnTo>
                      <a:pt x="72" y="46"/>
                    </a:lnTo>
                    <a:lnTo>
                      <a:pt x="72" y="9"/>
                    </a:lnTo>
                    <a:lnTo>
                      <a:pt x="25" y="0"/>
                    </a:lnTo>
                    <a:lnTo>
                      <a:pt x="8" y="24"/>
                    </a:lnTo>
                    <a:lnTo>
                      <a:pt x="12" y="51"/>
                    </a:lnTo>
                    <a:lnTo>
                      <a:pt x="55" y="56"/>
                    </a:lnTo>
                    <a:lnTo>
                      <a:pt x="102" y="86"/>
                    </a:lnTo>
                    <a:lnTo>
                      <a:pt x="99" y="110"/>
                    </a:lnTo>
                    <a:lnTo>
                      <a:pt x="69" y="120"/>
                    </a:lnTo>
                    <a:lnTo>
                      <a:pt x="35" y="90"/>
                    </a:lnTo>
                    <a:lnTo>
                      <a:pt x="15" y="103"/>
                    </a:lnTo>
                    <a:lnTo>
                      <a:pt x="30" y="133"/>
                    </a:lnTo>
                    <a:lnTo>
                      <a:pt x="13" y="153"/>
                    </a:lnTo>
                    <a:lnTo>
                      <a:pt x="0" y="18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79" name="Freeform 294">
                <a:extLst>
                  <a:ext uri="{FF2B5EF4-FFF2-40B4-BE49-F238E27FC236}">
                    <a16:creationId xmlns:a16="http://schemas.microsoft.com/office/drawing/2014/main" id="{61E0D0FB-69AF-44F9-BE6D-9F1784CB1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7938" y="3621088"/>
                <a:ext cx="22225" cy="23813"/>
              </a:xfrm>
              <a:custGeom>
                <a:avLst/>
                <a:gdLst>
                  <a:gd name="T0" fmla="*/ 62 w 69"/>
                  <a:gd name="T1" fmla="*/ 64 h 74"/>
                  <a:gd name="T2" fmla="*/ 69 w 69"/>
                  <a:gd name="T3" fmla="*/ 37 h 74"/>
                  <a:gd name="T4" fmla="*/ 26 w 69"/>
                  <a:gd name="T5" fmla="*/ 0 h 74"/>
                  <a:gd name="T6" fmla="*/ 2 w 69"/>
                  <a:gd name="T7" fmla="*/ 5 h 74"/>
                  <a:gd name="T8" fmla="*/ 0 w 69"/>
                  <a:gd name="T9" fmla="*/ 57 h 74"/>
                  <a:gd name="T10" fmla="*/ 30 w 69"/>
                  <a:gd name="T11" fmla="*/ 74 h 74"/>
                  <a:gd name="T12" fmla="*/ 62 w 69"/>
                  <a:gd name="T13" fmla="*/ 6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" h="74">
                    <a:moveTo>
                      <a:pt x="62" y="64"/>
                    </a:moveTo>
                    <a:lnTo>
                      <a:pt x="69" y="37"/>
                    </a:lnTo>
                    <a:lnTo>
                      <a:pt x="26" y="0"/>
                    </a:lnTo>
                    <a:lnTo>
                      <a:pt x="2" y="5"/>
                    </a:lnTo>
                    <a:lnTo>
                      <a:pt x="0" y="57"/>
                    </a:lnTo>
                    <a:lnTo>
                      <a:pt x="30" y="74"/>
                    </a:lnTo>
                    <a:lnTo>
                      <a:pt x="62" y="6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0" name="Freeform 295">
                <a:extLst>
                  <a:ext uri="{FF2B5EF4-FFF2-40B4-BE49-F238E27FC236}">
                    <a16:creationId xmlns:a16="http://schemas.microsoft.com/office/drawing/2014/main" id="{BAF0CE71-9353-4C84-B054-C3BF43CE5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050" y="3589338"/>
                <a:ext cx="14288" cy="17463"/>
              </a:xfrm>
              <a:custGeom>
                <a:avLst/>
                <a:gdLst>
                  <a:gd name="T0" fmla="*/ 8 w 42"/>
                  <a:gd name="T1" fmla="*/ 0 h 54"/>
                  <a:gd name="T2" fmla="*/ 0 w 42"/>
                  <a:gd name="T3" fmla="*/ 27 h 54"/>
                  <a:gd name="T4" fmla="*/ 23 w 42"/>
                  <a:gd name="T5" fmla="*/ 54 h 54"/>
                  <a:gd name="T6" fmla="*/ 42 w 42"/>
                  <a:gd name="T7" fmla="*/ 34 h 54"/>
                  <a:gd name="T8" fmla="*/ 42 w 42"/>
                  <a:gd name="T9" fmla="*/ 34 h 54"/>
                  <a:gd name="T10" fmla="*/ 35 w 42"/>
                  <a:gd name="T11" fmla="*/ 0 h 54"/>
                  <a:gd name="T12" fmla="*/ 35 w 42"/>
                  <a:gd name="T13" fmla="*/ 0 h 54"/>
                  <a:gd name="T14" fmla="*/ 8 w 42"/>
                  <a:gd name="T15" fmla="*/ 0 h 54"/>
                  <a:gd name="T16" fmla="*/ 8 w 42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54">
                    <a:moveTo>
                      <a:pt x="8" y="0"/>
                    </a:moveTo>
                    <a:lnTo>
                      <a:pt x="0" y="27"/>
                    </a:lnTo>
                    <a:lnTo>
                      <a:pt x="23" y="5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1" name="Freeform 296">
                <a:extLst>
                  <a:ext uri="{FF2B5EF4-FFF2-40B4-BE49-F238E27FC236}">
                    <a16:creationId xmlns:a16="http://schemas.microsoft.com/office/drawing/2014/main" id="{7C1767D9-DA22-4456-B6F1-324DBE869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113" y="3605213"/>
                <a:ext cx="9525" cy="12700"/>
              </a:xfrm>
              <a:custGeom>
                <a:avLst/>
                <a:gdLst>
                  <a:gd name="T0" fmla="*/ 17 w 27"/>
                  <a:gd name="T1" fmla="*/ 41 h 41"/>
                  <a:gd name="T2" fmla="*/ 27 w 27"/>
                  <a:gd name="T3" fmla="*/ 20 h 41"/>
                  <a:gd name="T4" fmla="*/ 0 w 27"/>
                  <a:gd name="T5" fmla="*/ 0 h 41"/>
                  <a:gd name="T6" fmla="*/ 17 w 27"/>
                  <a:gd name="T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41">
                    <a:moveTo>
                      <a:pt x="17" y="41"/>
                    </a:moveTo>
                    <a:lnTo>
                      <a:pt x="27" y="20"/>
                    </a:lnTo>
                    <a:lnTo>
                      <a:pt x="0" y="0"/>
                    </a:lnTo>
                    <a:lnTo>
                      <a:pt x="17" y="41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2" name="Freeform 297">
                <a:extLst>
                  <a:ext uri="{FF2B5EF4-FFF2-40B4-BE49-F238E27FC236}">
                    <a16:creationId xmlns:a16="http://schemas.microsoft.com/office/drawing/2014/main" id="{E83E7447-04B8-423C-9834-01F665F5D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7750" y="3611563"/>
                <a:ext cx="7938" cy="11113"/>
              </a:xfrm>
              <a:custGeom>
                <a:avLst/>
                <a:gdLst>
                  <a:gd name="T0" fmla="*/ 23 w 23"/>
                  <a:gd name="T1" fmla="*/ 0 h 37"/>
                  <a:gd name="T2" fmla="*/ 0 w 23"/>
                  <a:gd name="T3" fmla="*/ 7 h 37"/>
                  <a:gd name="T4" fmla="*/ 3 w 23"/>
                  <a:gd name="T5" fmla="*/ 37 h 37"/>
                  <a:gd name="T6" fmla="*/ 23 w 23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7">
                    <a:moveTo>
                      <a:pt x="23" y="0"/>
                    </a:moveTo>
                    <a:lnTo>
                      <a:pt x="0" y="7"/>
                    </a:lnTo>
                    <a:lnTo>
                      <a:pt x="3" y="37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3" name="Freeform 298">
                <a:extLst>
                  <a:ext uri="{FF2B5EF4-FFF2-40B4-BE49-F238E27FC236}">
                    <a16:creationId xmlns:a16="http://schemas.microsoft.com/office/drawing/2014/main" id="{317D4C1A-F24B-4EE3-837E-42523A03E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3125" y="3768725"/>
                <a:ext cx="22225" cy="15875"/>
              </a:xfrm>
              <a:custGeom>
                <a:avLst/>
                <a:gdLst>
                  <a:gd name="T0" fmla="*/ 39 w 69"/>
                  <a:gd name="T1" fmla="*/ 20 h 47"/>
                  <a:gd name="T2" fmla="*/ 69 w 69"/>
                  <a:gd name="T3" fmla="*/ 13 h 47"/>
                  <a:gd name="T4" fmla="*/ 56 w 69"/>
                  <a:gd name="T5" fmla="*/ 0 h 47"/>
                  <a:gd name="T6" fmla="*/ 16 w 69"/>
                  <a:gd name="T7" fmla="*/ 0 h 47"/>
                  <a:gd name="T8" fmla="*/ 0 w 69"/>
                  <a:gd name="T9" fmla="*/ 27 h 47"/>
                  <a:gd name="T10" fmla="*/ 17 w 69"/>
                  <a:gd name="T11" fmla="*/ 47 h 47"/>
                  <a:gd name="T12" fmla="*/ 39 w 69"/>
                  <a:gd name="T13" fmla="*/ 2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" h="47">
                    <a:moveTo>
                      <a:pt x="39" y="20"/>
                    </a:moveTo>
                    <a:lnTo>
                      <a:pt x="69" y="13"/>
                    </a:lnTo>
                    <a:lnTo>
                      <a:pt x="56" y="0"/>
                    </a:lnTo>
                    <a:lnTo>
                      <a:pt x="16" y="0"/>
                    </a:lnTo>
                    <a:lnTo>
                      <a:pt x="0" y="27"/>
                    </a:lnTo>
                    <a:lnTo>
                      <a:pt x="17" y="47"/>
                    </a:lnTo>
                    <a:lnTo>
                      <a:pt x="39" y="2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4" name="Freeform 299">
                <a:extLst>
                  <a:ext uri="{FF2B5EF4-FFF2-40B4-BE49-F238E27FC236}">
                    <a16:creationId xmlns:a16="http://schemas.microsoft.com/office/drawing/2014/main" id="{81A70AD6-A589-48D4-B235-483526178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700" y="3751263"/>
                <a:ext cx="23813" cy="11113"/>
              </a:xfrm>
              <a:custGeom>
                <a:avLst/>
                <a:gdLst>
                  <a:gd name="T0" fmla="*/ 72 w 72"/>
                  <a:gd name="T1" fmla="*/ 0 h 38"/>
                  <a:gd name="T2" fmla="*/ 40 w 72"/>
                  <a:gd name="T3" fmla="*/ 14 h 38"/>
                  <a:gd name="T4" fmla="*/ 0 w 72"/>
                  <a:gd name="T5" fmla="*/ 38 h 38"/>
                  <a:gd name="T6" fmla="*/ 60 w 72"/>
                  <a:gd name="T7" fmla="*/ 17 h 38"/>
                  <a:gd name="T8" fmla="*/ 72 w 72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38">
                    <a:moveTo>
                      <a:pt x="72" y="0"/>
                    </a:moveTo>
                    <a:lnTo>
                      <a:pt x="40" y="14"/>
                    </a:lnTo>
                    <a:lnTo>
                      <a:pt x="0" y="38"/>
                    </a:lnTo>
                    <a:lnTo>
                      <a:pt x="60" y="17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5" name="Freeform 300">
                <a:extLst>
                  <a:ext uri="{FF2B5EF4-FFF2-40B4-BE49-F238E27FC236}">
                    <a16:creationId xmlns:a16="http://schemas.microsoft.com/office/drawing/2014/main" id="{C0AE0E35-D264-4942-873A-8713209FA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6625" y="3744913"/>
                <a:ext cx="19050" cy="4763"/>
              </a:xfrm>
              <a:custGeom>
                <a:avLst/>
                <a:gdLst>
                  <a:gd name="T0" fmla="*/ 57 w 57"/>
                  <a:gd name="T1" fmla="*/ 0 h 13"/>
                  <a:gd name="T2" fmla="*/ 0 w 57"/>
                  <a:gd name="T3" fmla="*/ 6 h 13"/>
                  <a:gd name="T4" fmla="*/ 47 w 57"/>
                  <a:gd name="T5" fmla="*/ 13 h 13"/>
                  <a:gd name="T6" fmla="*/ 57 w 57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13">
                    <a:moveTo>
                      <a:pt x="57" y="0"/>
                    </a:moveTo>
                    <a:lnTo>
                      <a:pt x="0" y="6"/>
                    </a:lnTo>
                    <a:lnTo>
                      <a:pt x="47" y="1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6" name="Freeform 301">
                <a:extLst>
                  <a:ext uri="{FF2B5EF4-FFF2-40B4-BE49-F238E27FC236}">
                    <a16:creationId xmlns:a16="http://schemas.microsoft.com/office/drawing/2014/main" id="{ACD97DFF-E630-4F0D-AA4E-3CD8DED1E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963" y="3743325"/>
                <a:ext cx="15875" cy="3175"/>
              </a:xfrm>
              <a:custGeom>
                <a:avLst/>
                <a:gdLst>
                  <a:gd name="T0" fmla="*/ 27 w 51"/>
                  <a:gd name="T1" fmla="*/ 0 h 13"/>
                  <a:gd name="T2" fmla="*/ 0 w 51"/>
                  <a:gd name="T3" fmla="*/ 13 h 13"/>
                  <a:gd name="T4" fmla="*/ 51 w 51"/>
                  <a:gd name="T5" fmla="*/ 6 h 13"/>
                  <a:gd name="T6" fmla="*/ 27 w 51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13">
                    <a:moveTo>
                      <a:pt x="27" y="0"/>
                    </a:moveTo>
                    <a:lnTo>
                      <a:pt x="0" y="13"/>
                    </a:lnTo>
                    <a:lnTo>
                      <a:pt x="51" y="6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87" name="Freeform 302">
                <a:extLst>
                  <a:ext uri="{FF2B5EF4-FFF2-40B4-BE49-F238E27FC236}">
                    <a16:creationId xmlns:a16="http://schemas.microsoft.com/office/drawing/2014/main" id="{1BB5A77C-9F11-4430-B7CA-7BD24112A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4863" y="3546475"/>
                <a:ext cx="860425" cy="1158875"/>
              </a:xfrm>
              <a:custGeom>
                <a:avLst/>
                <a:gdLst>
                  <a:gd name="T0" fmla="*/ 2632 w 2711"/>
                  <a:gd name="T1" fmla="*/ 1437 h 3652"/>
                  <a:gd name="T2" fmla="*/ 2546 w 2711"/>
                  <a:gd name="T3" fmla="*/ 839 h 3652"/>
                  <a:gd name="T4" fmla="*/ 2470 w 2711"/>
                  <a:gd name="T5" fmla="*/ 664 h 3652"/>
                  <a:gd name="T6" fmla="*/ 2287 w 2711"/>
                  <a:gd name="T7" fmla="*/ 580 h 3652"/>
                  <a:gd name="T8" fmla="*/ 2316 w 2711"/>
                  <a:gd name="T9" fmla="*/ 490 h 3652"/>
                  <a:gd name="T10" fmla="*/ 2232 w 2711"/>
                  <a:gd name="T11" fmla="*/ 461 h 3652"/>
                  <a:gd name="T12" fmla="*/ 2117 w 2711"/>
                  <a:gd name="T13" fmla="*/ 349 h 3652"/>
                  <a:gd name="T14" fmla="*/ 1985 w 2711"/>
                  <a:gd name="T15" fmla="*/ 344 h 3652"/>
                  <a:gd name="T16" fmla="*/ 1934 w 2711"/>
                  <a:gd name="T17" fmla="*/ 350 h 3652"/>
                  <a:gd name="T18" fmla="*/ 1920 w 2711"/>
                  <a:gd name="T19" fmla="*/ 291 h 3652"/>
                  <a:gd name="T20" fmla="*/ 1815 w 2711"/>
                  <a:gd name="T21" fmla="*/ 408 h 3652"/>
                  <a:gd name="T22" fmla="*/ 1616 w 2711"/>
                  <a:gd name="T23" fmla="*/ 496 h 3652"/>
                  <a:gd name="T24" fmla="*/ 1430 w 2711"/>
                  <a:gd name="T25" fmla="*/ 568 h 3652"/>
                  <a:gd name="T26" fmla="*/ 1462 w 2711"/>
                  <a:gd name="T27" fmla="*/ 422 h 3652"/>
                  <a:gd name="T28" fmla="*/ 1371 w 2711"/>
                  <a:gd name="T29" fmla="*/ 359 h 3652"/>
                  <a:gd name="T30" fmla="*/ 1210 w 2711"/>
                  <a:gd name="T31" fmla="*/ 278 h 3652"/>
                  <a:gd name="T32" fmla="*/ 1176 w 2711"/>
                  <a:gd name="T33" fmla="*/ 145 h 3652"/>
                  <a:gd name="T34" fmla="*/ 1010 w 2711"/>
                  <a:gd name="T35" fmla="*/ 133 h 3652"/>
                  <a:gd name="T36" fmla="*/ 782 w 2711"/>
                  <a:gd name="T37" fmla="*/ 88 h 3652"/>
                  <a:gd name="T38" fmla="*/ 718 w 2711"/>
                  <a:gd name="T39" fmla="*/ 6 h 3652"/>
                  <a:gd name="T40" fmla="*/ 695 w 2711"/>
                  <a:gd name="T41" fmla="*/ 136 h 3652"/>
                  <a:gd name="T42" fmla="*/ 792 w 2711"/>
                  <a:gd name="T43" fmla="*/ 102 h 3652"/>
                  <a:gd name="T44" fmla="*/ 874 w 2711"/>
                  <a:gd name="T45" fmla="*/ 228 h 3652"/>
                  <a:gd name="T46" fmla="*/ 817 w 2711"/>
                  <a:gd name="T47" fmla="*/ 301 h 3652"/>
                  <a:gd name="T48" fmla="*/ 851 w 2711"/>
                  <a:gd name="T49" fmla="*/ 334 h 3652"/>
                  <a:gd name="T50" fmla="*/ 902 w 2711"/>
                  <a:gd name="T51" fmla="*/ 446 h 3652"/>
                  <a:gd name="T52" fmla="*/ 859 w 2711"/>
                  <a:gd name="T53" fmla="*/ 500 h 3652"/>
                  <a:gd name="T54" fmla="*/ 1000 w 2711"/>
                  <a:gd name="T55" fmla="*/ 604 h 3652"/>
                  <a:gd name="T56" fmla="*/ 1124 w 2711"/>
                  <a:gd name="T57" fmla="*/ 749 h 3652"/>
                  <a:gd name="T58" fmla="*/ 984 w 2711"/>
                  <a:gd name="T59" fmla="*/ 621 h 3652"/>
                  <a:gd name="T60" fmla="*/ 728 w 2711"/>
                  <a:gd name="T61" fmla="*/ 707 h 3652"/>
                  <a:gd name="T62" fmla="*/ 752 w 2711"/>
                  <a:gd name="T63" fmla="*/ 799 h 3652"/>
                  <a:gd name="T64" fmla="*/ 709 w 2711"/>
                  <a:gd name="T65" fmla="*/ 794 h 3652"/>
                  <a:gd name="T66" fmla="*/ 627 w 2711"/>
                  <a:gd name="T67" fmla="*/ 678 h 3652"/>
                  <a:gd name="T68" fmla="*/ 325 w 2711"/>
                  <a:gd name="T69" fmla="*/ 767 h 3652"/>
                  <a:gd name="T70" fmla="*/ 379 w 2711"/>
                  <a:gd name="T71" fmla="*/ 843 h 3652"/>
                  <a:gd name="T72" fmla="*/ 442 w 2711"/>
                  <a:gd name="T73" fmla="*/ 898 h 3652"/>
                  <a:gd name="T74" fmla="*/ 373 w 2711"/>
                  <a:gd name="T75" fmla="*/ 925 h 3652"/>
                  <a:gd name="T76" fmla="*/ 311 w 2711"/>
                  <a:gd name="T77" fmla="*/ 1361 h 3652"/>
                  <a:gd name="T78" fmla="*/ 23 w 2711"/>
                  <a:gd name="T79" fmla="*/ 1715 h 3652"/>
                  <a:gd name="T80" fmla="*/ 37 w 2711"/>
                  <a:gd name="T81" fmla="*/ 2084 h 3652"/>
                  <a:gd name="T82" fmla="*/ 74 w 2711"/>
                  <a:gd name="T83" fmla="*/ 2379 h 3652"/>
                  <a:gd name="T84" fmla="*/ 237 w 2711"/>
                  <a:gd name="T85" fmla="*/ 2803 h 3652"/>
                  <a:gd name="T86" fmla="*/ 658 w 2711"/>
                  <a:gd name="T87" fmla="*/ 2882 h 3652"/>
                  <a:gd name="T88" fmla="*/ 507 w 2711"/>
                  <a:gd name="T89" fmla="*/ 3242 h 3652"/>
                  <a:gd name="T90" fmla="*/ 621 w 2711"/>
                  <a:gd name="T91" fmla="*/ 3562 h 3652"/>
                  <a:gd name="T92" fmla="*/ 847 w 2711"/>
                  <a:gd name="T93" fmla="*/ 3510 h 3652"/>
                  <a:gd name="T94" fmla="*/ 1034 w 2711"/>
                  <a:gd name="T95" fmla="*/ 3499 h 3652"/>
                  <a:gd name="T96" fmla="*/ 1180 w 2711"/>
                  <a:gd name="T97" fmla="*/ 3556 h 3652"/>
                  <a:gd name="T98" fmla="*/ 1372 w 2711"/>
                  <a:gd name="T99" fmla="*/ 3568 h 3652"/>
                  <a:gd name="T100" fmla="*/ 1726 w 2711"/>
                  <a:gd name="T101" fmla="*/ 3516 h 3652"/>
                  <a:gd name="T102" fmla="*/ 2122 w 2711"/>
                  <a:gd name="T103" fmla="*/ 3481 h 3652"/>
                  <a:gd name="T104" fmla="*/ 2248 w 2711"/>
                  <a:gd name="T105" fmla="*/ 3206 h 3652"/>
                  <a:gd name="T106" fmla="*/ 2227 w 2711"/>
                  <a:gd name="T107" fmla="*/ 2923 h 3652"/>
                  <a:gd name="T108" fmla="*/ 1961 w 2711"/>
                  <a:gd name="T109" fmla="*/ 2504 h 3652"/>
                  <a:gd name="T110" fmla="*/ 1929 w 2711"/>
                  <a:gd name="T111" fmla="*/ 2319 h 3652"/>
                  <a:gd name="T112" fmla="*/ 2362 w 2711"/>
                  <a:gd name="T113" fmla="*/ 2076 h 3652"/>
                  <a:gd name="T114" fmla="*/ 2642 w 2711"/>
                  <a:gd name="T115" fmla="*/ 2056 h 3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711" h="3652">
                    <a:moveTo>
                      <a:pt x="2711" y="1803"/>
                    </a:moveTo>
                    <a:lnTo>
                      <a:pt x="2634" y="1657"/>
                    </a:lnTo>
                    <a:lnTo>
                      <a:pt x="2602" y="1538"/>
                    </a:lnTo>
                    <a:lnTo>
                      <a:pt x="2632" y="1437"/>
                    </a:lnTo>
                    <a:lnTo>
                      <a:pt x="2577" y="1322"/>
                    </a:lnTo>
                    <a:lnTo>
                      <a:pt x="2590" y="1180"/>
                    </a:lnTo>
                    <a:lnTo>
                      <a:pt x="2455" y="1067"/>
                    </a:lnTo>
                    <a:lnTo>
                      <a:pt x="2546" y="839"/>
                    </a:lnTo>
                    <a:lnTo>
                      <a:pt x="2541" y="671"/>
                    </a:lnTo>
                    <a:lnTo>
                      <a:pt x="2524" y="668"/>
                    </a:lnTo>
                    <a:lnTo>
                      <a:pt x="2497" y="641"/>
                    </a:lnTo>
                    <a:lnTo>
                      <a:pt x="2470" y="664"/>
                    </a:lnTo>
                    <a:lnTo>
                      <a:pt x="2454" y="624"/>
                    </a:lnTo>
                    <a:lnTo>
                      <a:pt x="2424" y="622"/>
                    </a:lnTo>
                    <a:lnTo>
                      <a:pt x="2380" y="625"/>
                    </a:lnTo>
                    <a:lnTo>
                      <a:pt x="2287" y="580"/>
                    </a:lnTo>
                    <a:lnTo>
                      <a:pt x="2316" y="563"/>
                    </a:lnTo>
                    <a:lnTo>
                      <a:pt x="2329" y="536"/>
                    </a:lnTo>
                    <a:lnTo>
                      <a:pt x="2295" y="500"/>
                    </a:lnTo>
                    <a:lnTo>
                      <a:pt x="2316" y="490"/>
                    </a:lnTo>
                    <a:lnTo>
                      <a:pt x="2292" y="481"/>
                    </a:lnTo>
                    <a:lnTo>
                      <a:pt x="2279" y="441"/>
                    </a:lnTo>
                    <a:lnTo>
                      <a:pt x="2242" y="437"/>
                    </a:lnTo>
                    <a:lnTo>
                      <a:pt x="2232" y="461"/>
                    </a:lnTo>
                    <a:lnTo>
                      <a:pt x="2205" y="422"/>
                    </a:lnTo>
                    <a:lnTo>
                      <a:pt x="2175" y="425"/>
                    </a:lnTo>
                    <a:lnTo>
                      <a:pt x="2158" y="405"/>
                    </a:lnTo>
                    <a:lnTo>
                      <a:pt x="2117" y="349"/>
                    </a:lnTo>
                    <a:lnTo>
                      <a:pt x="2074" y="302"/>
                    </a:lnTo>
                    <a:lnTo>
                      <a:pt x="2054" y="310"/>
                    </a:lnTo>
                    <a:lnTo>
                      <a:pt x="2044" y="334"/>
                    </a:lnTo>
                    <a:lnTo>
                      <a:pt x="1985" y="344"/>
                    </a:lnTo>
                    <a:lnTo>
                      <a:pt x="1931" y="407"/>
                    </a:lnTo>
                    <a:lnTo>
                      <a:pt x="1908" y="390"/>
                    </a:lnTo>
                    <a:lnTo>
                      <a:pt x="1904" y="367"/>
                    </a:lnTo>
                    <a:lnTo>
                      <a:pt x="1934" y="350"/>
                    </a:lnTo>
                    <a:lnTo>
                      <a:pt x="1947" y="305"/>
                    </a:lnTo>
                    <a:lnTo>
                      <a:pt x="2017" y="307"/>
                    </a:lnTo>
                    <a:lnTo>
                      <a:pt x="2017" y="290"/>
                    </a:lnTo>
                    <a:lnTo>
                      <a:pt x="1920" y="291"/>
                    </a:lnTo>
                    <a:lnTo>
                      <a:pt x="1861" y="358"/>
                    </a:lnTo>
                    <a:lnTo>
                      <a:pt x="1851" y="408"/>
                    </a:lnTo>
                    <a:lnTo>
                      <a:pt x="1805" y="435"/>
                    </a:lnTo>
                    <a:lnTo>
                      <a:pt x="1815" y="408"/>
                    </a:lnTo>
                    <a:lnTo>
                      <a:pt x="1778" y="395"/>
                    </a:lnTo>
                    <a:lnTo>
                      <a:pt x="1661" y="463"/>
                    </a:lnTo>
                    <a:lnTo>
                      <a:pt x="1659" y="500"/>
                    </a:lnTo>
                    <a:lnTo>
                      <a:pt x="1616" y="496"/>
                    </a:lnTo>
                    <a:lnTo>
                      <a:pt x="1629" y="553"/>
                    </a:lnTo>
                    <a:lnTo>
                      <a:pt x="1546" y="513"/>
                    </a:lnTo>
                    <a:lnTo>
                      <a:pt x="1470" y="527"/>
                    </a:lnTo>
                    <a:lnTo>
                      <a:pt x="1430" y="568"/>
                    </a:lnTo>
                    <a:lnTo>
                      <a:pt x="1406" y="561"/>
                    </a:lnTo>
                    <a:lnTo>
                      <a:pt x="1392" y="468"/>
                    </a:lnTo>
                    <a:lnTo>
                      <a:pt x="1439" y="442"/>
                    </a:lnTo>
                    <a:lnTo>
                      <a:pt x="1462" y="422"/>
                    </a:lnTo>
                    <a:lnTo>
                      <a:pt x="1504" y="338"/>
                    </a:lnTo>
                    <a:lnTo>
                      <a:pt x="1498" y="311"/>
                    </a:lnTo>
                    <a:lnTo>
                      <a:pt x="1404" y="332"/>
                    </a:lnTo>
                    <a:lnTo>
                      <a:pt x="1371" y="359"/>
                    </a:lnTo>
                    <a:lnTo>
                      <a:pt x="1307" y="307"/>
                    </a:lnTo>
                    <a:lnTo>
                      <a:pt x="1260" y="277"/>
                    </a:lnTo>
                    <a:lnTo>
                      <a:pt x="1231" y="330"/>
                    </a:lnTo>
                    <a:lnTo>
                      <a:pt x="1210" y="278"/>
                    </a:lnTo>
                    <a:lnTo>
                      <a:pt x="1133" y="261"/>
                    </a:lnTo>
                    <a:lnTo>
                      <a:pt x="1173" y="211"/>
                    </a:lnTo>
                    <a:lnTo>
                      <a:pt x="1179" y="175"/>
                    </a:lnTo>
                    <a:lnTo>
                      <a:pt x="1176" y="145"/>
                    </a:lnTo>
                    <a:lnTo>
                      <a:pt x="1156" y="112"/>
                    </a:lnTo>
                    <a:lnTo>
                      <a:pt x="1129" y="115"/>
                    </a:lnTo>
                    <a:lnTo>
                      <a:pt x="1075" y="96"/>
                    </a:lnTo>
                    <a:lnTo>
                      <a:pt x="1010" y="133"/>
                    </a:lnTo>
                    <a:lnTo>
                      <a:pt x="1029" y="100"/>
                    </a:lnTo>
                    <a:lnTo>
                      <a:pt x="933" y="129"/>
                    </a:lnTo>
                    <a:lnTo>
                      <a:pt x="822" y="75"/>
                    </a:lnTo>
                    <a:lnTo>
                      <a:pt x="782" y="88"/>
                    </a:lnTo>
                    <a:lnTo>
                      <a:pt x="759" y="100"/>
                    </a:lnTo>
                    <a:lnTo>
                      <a:pt x="725" y="66"/>
                    </a:lnTo>
                    <a:lnTo>
                      <a:pt x="718" y="29"/>
                    </a:lnTo>
                    <a:lnTo>
                      <a:pt x="718" y="6"/>
                    </a:lnTo>
                    <a:lnTo>
                      <a:pt x="698" y="0"/>
                    </a:lnTo>
                    <a:lnTo>
                      <a:pt x="685" y="46"/>
                    </a:lnTo>
                    <a:lnTo>
                      <a:pt x="685" y="100"/>
                    </a:lnTo>
                    <a:lnTo>
                      <a:pt x="695" y="136"/>
                    </a:lnTo>
                    <a:lnTo>
                      <a:pt x="702" y="126"/>
                    </a:lnTo>
                    <a:lnTo>
                      <a:pt x="709" y="90"/>
                    </a:lnTo>
                    <a:lnTo>
                      <a:pt x="752" y="110"/>
                    </a:lnTo>
                    <a:lnTo>
                      <a:pt x="792" y="102"/>
                    </a:lnTo>
                    <a:lnTo>
                      <a:pt x="816" y="125"/>
                    </a:lnTo>
                    <a:lnTo>
                      <a:pt x="832" y="162"/>
                    </a:lnTo>
                    <a:lnTo>
                      <a:pt x="836" y="191"/>
                    </a:lnTo>
                    <a:lnTo>
                      <a:pt x="874" y="228"/>
                    </a:lnTo>
                    <a:lnTo>
                      <a:pt x="907" y="253"/>
                    </a:lnTo>
                    <a:lnTo>
                      <a:pt x="887" y="293"/>
                    </a:lnTo>
                    <a:lnTo>
                      <a:pt x="850" y="291"/>
                    </a:lnTo>
                    <a:lnTo>
                      <a:pt x="817" y="301"/>
                    </a:lnTo>
                    <a:lnTo>
                      <a:pt x="795" y="331"/>
                    </a:lnTo>
                    <a:lnTo>
                      <a:pt x="805" y="367"/>
                    </a:lnTo>
                    <a:lnTo>
                      <a:pt x="841" y="357"/>
                    </a:lnTo>
                    <a:lnTo>
                      <a:pt x="851" y="334"/>
                    </a:lnTo>
                    <a:lnTo>
                      <a:pt x="878" y="360"/>
                    </a:lnTo>
                    <a:lnTo>
                      <a:pt x="831" y="404"/>
                    </a:lnTo>
                    <a:lnTo>
                      <a:pt x="842" y="444"/>
                    </a:lnTo>
                    <a:lnTo>
                      <a:pt x="902" y="446"/>
                    </a:lnTo>
                    <a:lnTo>
                      <a:pt x="913" y="483"/>
                    </a:lnTo>
                    <a:lnTo>
                      <a:pt x="906" y="500"/>
                    </a:lnTo>
                    <a:lnTo>
                      <a:pt x="896" y="520"/>
                    </a:lnTo>
                    <a:lnTo>
                      <a:pt x="859" y="500"/>
                    </a:lnTo>
                    <a:lnTo>
                      <a:pt x="852" y="510"/>
                    </a:lnTo>
                    <a:lnTo>
                      <a:pt x="849" y="553"/>
                    </a:lnTo>
                    <a:lnTo>
                      <a:pt x="929" y="589"/>
                    </a:lnTo>
                    <a:lnTo>
                      <a:pt x="1000" y="604"/>
                    </a:lnTo>
                    <a:lnTo>
                      <a:pt x="1046" y="621"/>
                    </a:lnTo>
                    <a:lnTo>
                      <a:pt x="1084" y="667"/>
                    </a:lnTo>
                    <a:lnTo>
                      <a:pt x="1085" y="718"/>
                    </a:lnTo>
                    <a:lnTo>
                      <a:pt x="1124" y="749"/>
                    </a:lnTo>
                    <a:lnTo>
                      <a:pt x="1195" y="783"/>
                    </a:lnTo>
                    <a:lnTo>
                      <a:pt x="1121" y="774"/>
                    </a:lnTo>
                    <a:lnTo>
                      <a:pt x="1044" y="678"/>
                    </a:lnTo>
                    <a:lnTo>
                      <a:pt x="984" y="621"/>
                    </a:lnTo>
                    <a:lnTo>
                      <a:pt x="900" y="612"/>
                    </a:lnTo>
                    <a:lnTo>
                      <a:pt x="790" y="600"/>
                    </a:lnTo>
                    <a:lnTo>
                      <a:pt x="740" y="647"/>
                    </a:lnTo>
                    <a:lnTo>
                      <a:pt x="728" y="707"/>
                    </a:lnTo>
                    <a:lnTo>
                      <a:pt x="748" y="773"/>
                    </a:lnTo>
                    <a:lnTo>
                      <a:pt x="776" y="799"/>
                    </a:lnTo>
                    <a:lnTo>
                      <a:pt x="749" y="823"/>
                    </a:lnTo>
                    <a:lnTo>
                      <a:pt x="752" y="799"/>
                    </a:lnTo>
                    <a:lnTo>
                      <a:pt x="721" y="747"/>
                    </a:lnTo>
                    <a:lnTo>
                      <a:pt x="668" y="734"/>
                    </a:lnTo>
                    <a:lnTo>
                      <a:pt x="665" y="757"/>
                    </a:lnTo>
                    <a:lnTo>
                      <a:pt x="709" y="794"/>
                    </a:lnTo>
                    <a:lnTo>
                      <a:pt x="689" y="823"/>
                    </a:lnTo>
                    <a:lnTo>
                      <a:pt x="639" y="817"/>
                    </a:lnTo>
                    <a:lnTo>
                      <a:pt x="614" y="708"/>
                    </a:lnTo>
                    <a:lnTo>
                      <a:pt x="627" y="678"/>
                    </a:lnTo>
                    <a:lnTo>
                      <a:pt x="391" y="687"/>
                    </a:lnTo>
                    <a:lnTo>
                      <a:pt x="341" y="747"/>
                    </a:lnTo>
                    <a:lnTo>
                      <a:pt x="349" y="774"/>
                    </a:lnTo>
                    <a:lnTo>
                      <a:pt x="325" y="767"/>
                    </a:lnTo>
                    <a:lnTo>
                      <a:pt x="302" y="790"/>
                    </a:lnTo>
                    <a:lnTo>
                      <a:pt x="305" y="844"/>
                    </a:lnTo>
                    <a:lnTo>
                      <a:pt x="335" y="849"/>
                    </a:lnTo>
                    <a:lnTo>
                      <a:pt x="379" y="843"/>
                    </a:lnTo>
                    <a:lnTo>
                      <a:pt x="419" y="839"/>
                    </a:lnTo>
                    <a:lnTo>
                      <a:pt x="446" y="885"/>
                    </a:lnTo>
                    <a:lnTo>
                      <a:pt x="470" y="932"/>
                    </a:lnTo>
                    <a:lnTo>
                      <a:pt x="442" y="898"/>
                    </a:lnTo>
                    <a:lnTo>
                      <a:pt x="416" y="875"/>
                    </a:lnTo>
                    <a:lnTo>
                      <a:pt x="389" y="873"/>
                    </a:lnTo>
                    <a:lnTo>
                      <a:pt x="372" y="893"/>
                    </a:lnTo>
                    <a:lnTo>
                      <a:pt x="373" y="925"/>
                    </a:lnTo>
                    <a:lnTo>
                      <a:pt x="318" y="1102"/>
                    </a:lnTo>
                    <a:lnTo>
                      <a:pt x="325" y="1232"/>
                    </a:lnTo>
                    <a:lnTo>
                      <a:pt x="280" y="1275"/>
                    </a:lnTo>
                    <a:lnTo>
                      <a:pt x="311" y="1361"/>
                    </a:lnTo>
                    <a:lnTo>
                      <a:pt x="251" y="1451"/>
                    </a:lnTo>
                    <a:lnTo>
                      <a:pt x="165" y="1531"/>
                    </a:lnTo>
                    <a:lnTo>
                      <a:pt x="22" y="1586"/>
                    </a:lnTo>
                    <a:lnTo>
                      <a:pt x="23" y="1715"/>
                    </a:lnTo>
                    <a:lnTo>
                      <a:pt x="68" y="1831"/>
                    </a:lnTo>
                    <a:lnTo>
                      <a:pt x="12" y="1938"/>
                    </a:lnTo>
                    <a:lnTo>
                      <a:pt x="0" y="2034"/>
                    </a:lnTo>
                    <a:lnTo>
                      <a:pt x="37" y="2084"/>
                    </a:lnTo>
                    <a:lnTo>
                      <a:pt x="71" y="2146"/>
                    </a:lnTo>
                    <a:lnTo>
                      <a:pt x="115" y="2160"/>
                    </a:lnTo>
                    <a:lnTo>
                      <a:pt x="115" y="2266"/>
                    </a:lnTo>
                    <a:lnTo>
                      <a:pt x="74" y="2379"/>
                    </a:lnTo>
                    <a:lnTo>
                      <a:pt x="84" y="2462"/>
                    </a:lnTo>
                    <a:lnTo>
                      <a:pt x="132" y="2574"/>
                    </a:lnTo>
                    <a:lnTo>
                      <a:pt x="123" y="2687"/>
                    </a:lnTo>
                    <a:lnTo>
                      <a:pt x="237" y="2803"/>
                    </a:lnTo>
                    <a:lnTo>
                      <a:pt x="377" y="2810"/>
                    </a:lnTo>
                    <a:lnTo>
                      <a:pt x="464" y="2847"/>
                    </a:lnTo>
                    <a:lnTo>
                      <a:pt x="524" y="2839"/>
                    </a:lnTo>
                    <a:lnTo>
                      <a:pt x="658" y="2882"/>
                    </a:lnTo>
                    <a:lnTo>
                      <a:pt x="674" y="2907"/>
                    </a:lnTo>
                    <a:lnTo>
                      <a:pt x="612" y="2962"/>
                    </a:lnTo>
                    <a:lnTo>
                      <a:pt x="536" y="3069"/>
                    </a:lnTo>
                    <a:lnTo>
                      <a:pt x="507" y="3242"/>
                    </a:lnTo>
                    <a:lnTo>
                      <a:pt x="439" y="3434"/>
                    </a:lnTo>
                    <a:lnTo>
                      <a:pt x="454" y="3547"/>
                    </a:lnTo>
                    <a:lnTo>
                      <a:pt x="527" y="3537"/>
                    </a:lnTo>
                    <a:lnTo>
                      <a:pt x="621" y="3562"/>
                    </a:lnTo>
                    <a:lnTo>
                      <a:pt x="683" y="3528"/>
                    </a:lnTo>
                    <a:lnTo>
                      <a:pt x="763" y="3541"/>
                    </a:lnTo>
                    <a:lnTo>
                      <a:pt x="813" y="3481"/>
                    </a:lnTo>
                    <a:lnTo>
                      <a:pt x="847" y="3510"/>
                    </a:lnTo>
                    <a:lnTo>
                      <a:pt x="924" y="3460"/>
                    </a:lnTo>
                    <a:lnTo>
                      <a:pt x="981" y="3479"/>
                    </a:lnTo>
                    <a:lnTo>
                      <a:pt x="998" y="3442"/>
                    </a:lnTo>
                    <a:lnTo>
                      <a:pt x="1034" y="3499"/>
                    </a:lnTo>
                    <a:lnTo>
                      <a:pt x="1089" y="3512"/>
                    </a:lnTo>
                    <a:lnTo>
                      <a:pt x="1129" y="3511"/>
                    </a:lnTo>
                    <a:lnTo>
                      <a:pt x="1171" y="3512"/>
                    </a:lnTo>
                    <a:lnTo>
                      <a:pt x="1180" y="3556"/>
                    </a:lnTo>
                    <a:lnTo>
                      <a:pt x="1275" y="3648"/>
                    </a:lnTo>
                    <a:lnTo>
                      <a:pt x="1336" y="3652"/>
                    </a:lnTo>
                    <a:lnTo>
                      <a:pt x="1381" y="3602"/>
                    </a:lnTo>
                    <a:lnTo>
                      <a:pt x="1372" y="3568"/>
                    </a:lnTo>
                    <a:lnTo>
                      <a:pt x="1451" y="3553"/>
                    </a:lnTo>
                    <a:lnTo>
                      <a:pt x="1550" y="3615"/>
                    </a:lnTo>
                    <a:lnTo>
                      <a:pt x="1674" y="3591"/>
                    </a:lnTo>
                    <a:lnTo>
                      <a:pt x="1726" y="3516"/>
                    </a:lnTo>
                    <a:lnTo>
                      <a:pt x="1922" y="3522"/>
                    </a:lnTo>
                    <a:lnTo>
                      <a:pt x="1992" y="3487"/>
                    </a:lnTo>
                    <a:lnTo>
                      <a:pt x="2148" y="3551"/>
                    </a:lnTo>
                    <a:lnTo>
                      <a:pt x="2122" y="3481"/>
                    </a:lnTo>
                    <a:lnTo>
                      <a:pt x="2147" y="3428"/>
                    </a:lnTo>
                    <a:lnTo>
                      <a:pt x="2063" y="3309"/>
                    </a:lnTo>
                    <a:lnTo>
                      <a:pt x="2186" y="3206"/>
                    </a:lnTo>
                    <a:lnTo>
                      <a:pt x="2248" y="3206"/>
                    </a:lnTo>
                    <a:lnTo>
                      <a:pt x="2261" y="3117"/>
                    </a:lnTo>
                    <a:lnTo>
                      <a:pt x="2358" y="3045"/>
                    </a:lnTo>
                    <a:lnTo>
                      <a:pt x="2334" y="3001"/>
                    </a:lnTo>
                    <a:lnTo>
                      <a:pt x="2227" y="2923"/>
                    </a:lnTo>
                    <a:lnTo>
                      <a:pt x="2204" y="2834"/>
                    </a:lnTo>
                    <a:lnTo>
                      <a:pt x="2097" y="2774"/>
                    </a:lnTo>
                    <a:lnTo>
                      <a:pt x="1981" y="2650"/>
                    </a:lnTo>
                    <a:lnTo>
                      <a:pt x="1961" y="2504"/>
                    </a:lnTo>
                    <a:lnTo>
                      <a:pt x="1868" y="2377"/>
                    </a:lnTo>
                    <a:lnTo>
                      <a:pt x="1849" y="2293"/>
                    </a:lnTo>
                    <a:lnTo>
                      <a:pt x="1888" y="2244"/>
                    </a:lnTo>
                    <a:lnTo>
                      <a:pt x="1929" y="2319"/>
                    </a:lnTo>
                    <a:lnTo>
                      <a:pt x="1969" y="2283"/>
                    </a:lnTo>
                    <a:lnTo>
                      <a:pt x="2136" y="2206"/>
                    </a:lnTo>
                    <a:lnTo>
                      <a:pt x="2203" y="2196"/>
                    </a:lnTo>
                    <a:lnTo>
                      <a:pt x="2362" y="2076"/>
                    </a:lnTo>
                    <a:lnTo>
                      <a:pt x="2464" y="2048"/>
                    </a:lnTo>
                    <a:lnTo>
                      <a:pt x="2441" y="1974"/>
                    </a:lnTo>
                    <a:lnTo>
                      <a:pt x="2516" y="1964"/>
                    </a:lnTo>
                    <a:lnTo>
                      <a:pt x="2642" y="2056"/>
                    </a:lnTo>
                    <a:lnTo>
                      <a:pt x="2668" y="1971"/>
                    </a:lnTo>
                    <a:lnTo>
                      <a:pt x="2711" y="1864"/>
                    </a:lnTo>
                    <a:lnTo>
                      <a:pt x="2711" y="1803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58" name="Freeform 305">
              <a:extLst>
                <a:ext uri="{FF2B5EF4-FFF2-40B4-BE49-F238E27FC236}">
                  <a16:creationId xmlns:a16="http://schemas.microsoft.com/office/drawing/2014/main" id="{BADB3953-DF51-4136-BE56-E93FB0F2E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3563938"/>
              <a:ext cx="954088" cy="874713"/>
            </a:xfrm>
            <a:custGeom>
              <a:avLst/>
              <a:gdLst>
                <a:gd name="T0" fmla="*/ 2855 w 3008"/>
                <a:gd name="T1" fmla="*/ 1698 h 2753"/>
                <a:gd name="T2" fmla="*/ 2873 w 3008"/>
                <a:gd name="T3" fmla="*/ 1383 h 2753"/>
                <a:gd name="T4" fmla="*/ 2752 w 3008"/>
                <a:gd name="T5" fmla="*/ 1193 h 2753"/>
                <a:gd name="T6" fmla="*/ 2941 w 3008"/>
                <a:gd name="T7" fmla="*/ 979 h 2753"/>
                <a:gd name="T8" fmla="*/ 2914 w 3008"/>
                <a:gd name="T9" fmla="*/ 825 h 2753"/>
                <a:gd name="T10" fmla="*/ 2849 w 3008"/>
                <a:gd name="T11" fmla="*/ 551 h 2753"/>
                <a:gd name="T12" fmla="*/ 2740 w 3008"/>
                <a:gd name="T13" fmla="*/ 318 h 2753"/>
                <a:gd name="T14" fmla="*/ 2615 w 3008"/>
                <a:gd name="T15" fmla="*/ 265 h 2753"/>
                <a:gd name="T16" fmla="*/ 2153 w 3008"/>
                <a:gd name="T17" fmla="*/ 234 h 2753"/>
                <a:gd name="T18" fmla="*/ 1615 w 3008"/>
                <a:gd name="T19" fmla="*/ 255 h 2753"/>
                <a:gd name="T20" fmla="*/ 1532 w 3008"/>
                <a:gd name="T21" fmla="*/ 315 h 2753"/>
                <a:gd name="T22" fmla="*/ 1549 w 3008"/>
                <a:gd name="T23" fmla="*/ 246 h 2753"/>
                <a:gd name="T24" fmla="*/ 1680 w 3008"/>
                <a:gd name="T25" fmla="*/ 138 h 2753"/>
                <a:gd name="T26" fmla="*/ 1673 w 3008"/>
                <a:gd name="T27" fmla="*/ 79 h 2753"/>
                <a:gd name="T28" fmla="*/ 1539 w 3008"/>
                <a:gd name="T29" fmla="*/ 226 h 2753"/>
                <a:gd name="T30" fmla="*/ 1402 w 3008"/>
                <a:gd name="T31" fmla="*/ 254 h 2753"/>
                <a:gd name="T32" fmla="*/ 1305 w 3008"/>
                <a:gd name="T33" fmla="*/ 195 h 2753"/>
                <a:gd name="T34" fmla="*/ 1283 w 3008"/>
                <a:gd name="T35" fmla="*/ 76 h 2753"/>
                <a:gd name="T36" fmla="*/ 1340 w 3008"/>
                <a:gd name="T37" fmla="*/ 63 h 2753"/>
                <a:gd name="T38" fmla="*/ 1390 w 3008"/>
                <a:gd name="T39" fmla="*/ 145 h 2753"/>
                <a:gd name="T40" fmla="*/ 1374 w 3008"/>
                <a:gd name="T41" fmla="*/ 65 h 2753"/>
                <a:gd name="T42" fmla="*/ 1153 w 3008"/>
                <a:gd name="T43" fmla="*/ 0 h 2753"/>
                <a:gd name="T44" fmla="*/ 887 w 3008"/>
                <a:gd name="T45" fmla="*/ 63 h 2753"/>
                <a:gd name="T46" fmla="*/ 687 w 3008"/>
                <a:gd name="T47" fmla="*/ 151 h 2753"/>
                <a:gd name="T48" fmla="*/ 529 w 3008"/>
                <a:gd name="T49" fmla="*/ 315 h 2753"/>
                <a:gd name="T50" fmla="*/ 207 w 3008"/>
                <a:gd name="T51" fmla="*/ 405 h 2753"/>
                <a:gd name="T52" fmla="*/ 141 w 3008"/>
                <a:gd name="T53" fmla="*/ 485 h 2753"/>
                <a:gd name="T54" fmla="*/ 74 w 3008"/>
                <a:gd name="T55" fmla="*/ 505 h 2753"/>
                <a:gd name="T56" fmla="*/ 118 w 3008"/>
                <a:gd name="T57" fmla="*/ 557 h 2753"/>
                <a:gd name="T58" fmla="*/ 86 w 3008"/>
                <a:gd name="T59" fmla="*/ 615 h 2753"/>
                <a:gd name="T60" fmla="*/ 0 w 3008"/>
                <a:gd name="T61" fmla="*/ 1011 h 2753"/>
                <a:gd name="T62" fmla="*/ 122 w 3008"/>
                <a:gd name="T63" fmla="*/ 1266 h 2753"/>
                <a:gd name="T64" fmla="*/ 147 w 3008"/>
                <a:gd name="T65" fmla="*/ 1482 h 2753"/>
                <a:gd name="T66" fmla="*/ 256 w 3008"/>
                <a:gd name="T67" fmla="*/ 1747 h 2753"/>
                <a:gd name="T68" fmla="*/ 213 w 3008"/>
                <a:gd name="T69" fmla="*/ 1915 h 2753"/>
                <a:gd name="T70" fmla="*/ 230 w 3008"/>
                <a:gd name="T71" fmla="*/ 1973 h 2753"/>
                <a:gd name="T72" fmla="*/ 329 w 3008"/>
                <a:gd name="T73" fmla="*/ 1914 h 2753"/>
                <a:gd name="T74" fmla="*/ 401 w 3008"/>
                <a:gd name="T75" fmla="*/ 2081 h 2753"/>
                <a:gd name="T76" fmla="*/ 548 w 3008"/>
                <a:gd name="T77" fmla="*/ 2125 h 2753"/>
                <a:gd name="T78" fmla="*/ 646 w 3008"/>
                <a:gd name="T79" fmla="*/ 2204 h 2753"/>
                <a:gd name="T80" fmla="*/ 815 w 3008"/>
                <a:gd name="T81" fmla="*/ 2286 h 2753"/>
                <a:gd name="T82" fmla="*/ 814 w 3008"/>
                <a:gd name="T83" fmla="*/ 2158 h 2753"/>
                <a:gd name="T84" fmla="*/ 1042 w 3008"/>
                <a:gd name="T85" fmla="*/ 2222 h 2753"/>
                <a:gd name="T86" fmla="*/ 1114 w 3008"/>
                <a:gd name="T87" fmla="*/ 2372 h 2753"/>
                <a:gd name="T88" fmla="*/ 1306 w 3008"/>
                <a:gd name="T89" fmla="*/ 2437 h 2753"/>
                <a:gd name="T90" fmla="*/ 1374 w 3008"/>
                <a:gd name="T91" fmla="*/ 2559 h 2753"/>
                <a:gd name="T92" fmla="*/ 1482 w 3008"/>
                <a:gd name="T93" fmla="*/ 2665 h 2753"/>
                <a:gd name="T94" fmla="*/ 1613 w 3008"/>
                <a:gd name="T95" fmla="*/ 2536 h 2753"/>
                <a:gd name="T96" fmla="*/ 1730 w 3008"/>
                <a:gd name="T97" fmla="*/ 2703 h 2753"/>
                <a:gd name="T98" fmla="*/ 2041 w 3008"/>
                <a:gd name="T99" fmla="*/ 2673 h 2753"/>
                <a:gd name="T100" fmla="*/ 2290 w 3008"/>
                <a:gd name="T101" fmla="*/ 2601 h 2753"/>
                <a:gd name="T102" fmla="*/ 2460 w 3008"/>
                <a:gd name="T103" fmla="*/ 2753 h 2753"/>
                <a:gd name="T104" fmla="*/ 2517 w 3008"/>
                <a:gd name="T105" fmla="*/ 2652 h 2753"/>
                <a:gd name="T106" fmla="*/ 2953 w 3008"/>
                <a:gd name="T107" fmla="*/ 2257 h 2753"/>
                <a:gd name="T108" fmla="*/ 3008 w 3008"/>
                <a:gd name="T109" fmla="*/ 1988 h 2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08" h="2753">
                  <a:moveTo>
                    <a:pt x="2882" y="1794"/>
                  </a:moveTo>
                  <a:lnTo>
                    <a:pt x="2855" y="1698"/>
                  </a:lnTo>
                  <a:lnTo>
                    <a:pt x="2831" y="1538"/>
                  </a:lnTo>
                  <a:lnTo>
                    <a:pt x="2873" y="1383"/>
                  </a:lnTo>
                  <a:lnTo>
                    <a:pt x="2722" y="1313"/>
                  </a:lnTo>
                  <a:lnTo>
                    <a:pt x="2752" y="1193"/>
                  </a:lnTo>
                  <a:lnTo>
                    <a:pt x="2934" y="1094"/>
                  </a:lnTo>
                  <a:lnTo>
                    <a:pt x="2941" y="979"/>
                  </a:lnTo>
                  <a:lnTo>
                    <a:pt x="2959" y="939"/>
                  </a:lnTo>
                  <a:lnTo>
                    <a:pt x="2914" y="825"/>
                  </a:lnTo>
                  <a:lnTo>
                    <a:pt x="2840" y="595"/>
                  </a:lnTo>
                  <a:lnTo>
                    <a:pt x="2849" y="551"/>
                  </a:lnTo>
                  <a:lnTo>
                    <a:pt x="2848" y="418"/>
                  </a:lnTo>
                  <a:lnTo>
                    <a:pt x="2740" y="318"/>
                  </a:lnTo>
                  <a:lnTo>
                    <a:pt x="2655" y="261"/>
                  </a:lnTo>
                  <a:lnTo>
                    <a:pt x="2615" y="265"/>
                  </a:lnTo>
                  <a:lnTo>
                    <a:pt x="2402" y="293"/>
                  </a:lnTo>
                  <a:lnTo>
                    <a:pt x="2153" y="234"/>
                  </a:lnTo>
                  <a:lnTo>
                    <a:pt x="1661" y="214"/>
                  </a:lnTo>
                  <a:lnTo>
                    <a:pt x="1615" y="255"/>
                  </a:lnTo>
                  <a:lnTo>
                    <a:pt x="1559" y="295"/>
                  </a:lnTo>
                  <a:lnTo>
                    <a:pt x="1532" y="315"/>
                  </a:lnTo>
                  <a:lnTo>
                    <a:pt x="1512" y="250"/>
                  </a:lnTo>
                  <a:lnTo>
                    <a:pt x="1549" y="246"/>
                  </a:lnTo>
                  <a:lnTo>
                    <a:pt x="1628" y="192"/>
                  </a:lnTo>
                  <a:lnTo>
                    <a:pt x="1680" y="138"/>
                  </a:lnTo>
                  <a:lnTo>
                    <a:pt x="1687" y="86"/>
                  </a:lnTo>
                  <a:lnTo>
                    <a:pt x="1673" y="79"/>
                  </a:lnTo>
                  <a:lnTo>
                    <a:pt x="1654" y="139"/>
                  </a:lnTo>
                  <a:lnTo>
                    <a:pt x="1539" y="226"/>
                  </a:lnTo>
                  <a:lnTo>
                    <a:pt x="1468" y="250"/>
                  </a:lnTo>
                  <a:lnTo>
                    <a:pt x="1402" y="254"/>
                  </a:lnTo>
                  <a:lnTo>
                    <a:pt x="1378" y="227"/>
                  </a:lnTo>
                  <a:lnTo>
                    <a:pt x="1305" y="195"/>
                  </a:lnTo>
                  <a:lnTo>
                    <a:pt x="1293" y="126"/>
                  </a:lnTo>
                  <a:lnTo>
                    <a:pt x="1283" y="76"/>
                  </a:lnTo>
                  <a:lnTo>
                    <a:pt x="1314" y="46"/>
                  </a:lnTo>
                  <a:lnTo>
                    <a:pt x="1340" y="63"/>
                  </a:lnTo>
                  <a:lnTo>
                    <a:pt x="1374" y="115"/>
                  </a:lnTo>
                  <a:lnTo>
                    <a:pt x="1390" y="145"/>
                  </a:lnTo>
                  <a:lnTo>
                    <a:pt x="1394" y="128"/>
                  </a:lnTo>
                  <a:lnTo>
                    <a:pt x="1374" y="65"/>
                  </a:lnTo>
                  <a:lnTo>
                    <a:pt x="1292" y="9"/>
                  </a:lnTo>
                  <a:lnTo>
                    <a:pt x="1153" y="0"/>
                  </a:lnTo>
                  <a:lnTo>
                    <a:pt x="1003" y="38"/>
                  </a:lnTo>
                  <a:lnTo>
                    <a:pt x="887" y="63"/>
                  </a:lnTo>
                  <a:lnTo>
                    <a:pt x="794" y="134"/>
                  </a:lnTo>
                  <a:lnTo>
                    <a:pt x="687" y="151"/>
                  </a:lnTo>
                  <a:lnTo>
                    <a:pt x="608" y="237"/>
                  </a:lnTo>
                  <a:lnTo>
                    <a:pt x="529" y="315"/>
                  </a:lnTo>
                  <a:lnTo>
                    <a:pt x="380" y="343"/>
                  </a:lnTo>
                  <a:lnTo>
                    <a:pt x="207" y="405"/>
                  </a:lnTo>
                  <a:lnTo>
                    <a:pt x="174" y="451"/>
                  </a:lnTo>
                  <a:lnTo>
                    <a:pt x="141" y="485"/>
                  </a:lnTo>
                  <a:lnTo>
                    <a:pt x="101" y="471"/>
                  </a:lnTo>
                  <a:lnTo>
                    <a:pt x="74" y="505"/>
                  </a:lnTo>
                  <a:lnTo>
                    <a:pt x="95" y="548"/>
                  </a:lnTo>
                  <a:lnTo>
                    <a:pt x="118" y="557"/>
                  </a:lnTo>
                  <a:lnTo>
                    <a:pt x="101" y="581"/>
                  </a:lnTo>
                  <a:lnTo>
                    <a:pt x="86" y="615"/>
                  </a:lnTo>
                  <a:lnTo>
                    <a:pt x="91" y="783"/>
                  </a:lnTo>
                  <a:lnTo>
                    <a:pt x="0" y="1011"/>
                  </a:lnTo>
                  <a:lnTo>
                    <a:pt x="135" y="1124"/>
                  </a:lnTo>
                  <a:lnTo>
                    <a:pt x="122" y="1266"/>
                  </a:lnTo>
                  <a:lnTo>
                    <a:pt x="177" y="1381"/>
                  </a:lnTo>
                  <a:lnTo>
                    <a:pt x="147" y="1482"/>
                  </a:lnTo>
                  <a:lnTo>
                    <a:pt x="179" y="1601"/>
                  </a:lnTo>
                  <a:lnTo>
                    <a:pt x="256" y="1747"/>
                  </a:lnTo>
                  <a:lnTo>
                    <a:pt x="256" y="1808"/>
                  </a:lnTo>
                  <a:lnTo>
                    <a:pt x="213" y="1915"/>
                  </a:lnTo>
                  <a:lnTo>
                    <a:pt x="187" y="2000"/>
                  </a:lnTo>
                  <a:lnTo>
                    <a:pt x="230" y="1973"/>
                  </a:lnTo>
                  <a:lnTo>
                    <a:pt x="262" y="1902"/>
                  </a:lnTo>
                  <a:lnTo>
                    <a:pt x="329" y="1914"/>
                  </a:lnTo>
                  <a:lnTo>
                    <a:pt x="361" y="2074"/>
                  </a:lnTo>
                  <a:lnTo>
                    <a:pt x="401" y="2081"/>
                  </a:lnTo>
                  <a:lnTo>
                    <a:pt x="471" y="2050"/>
                  </a:lnTo>
                  <a:lnTo>
                    <a:pt x="548" y="2125"/>
                  </a:lnTo>
                  <a:lnTo>
                    <a:pt x="672" y="2101"/>
                  </a:lnTo>
                  <a:lnTo>
                    <a:pt x="646" y="2204"/>
                  </a:lnTo>
                  <a:lnTo>
                    <a:pt x="745" y="2304"/>
                  </a:lnTo>
                  <a:lnTo>
                    <a:pt x="815" y="2286"/>
                  </a:lnTo>
                  <a:lnTo>
                    <a:pt x="775" y="2203"/>
                  </a:lnTo>
                  <a:lnTo>
                    <a:pt x="814" y="2158"/>
                  </a:lnTo>
                  <a:lnTo>
                    <a:pt x="905" y="2227"/>
                  </a:lnTo>
                  <a:lnTo>
                    <a:pt x="1042" y="2222"/>
                  </a:lnTo>
                  <a:lnTo>
                    <a:pt x="1082" y="2213"/>
                  </a:lnTo>
                  <a:lnTo>
                    <a:pt x="1114" y="2372"/>
                  </a:lnTo>
                  <a:lnTo>
                    <a:pt x="1176" y="2344"/>
                  </a:lnTo>
                  <a:lnTo>
                    <a:pt x="1306" y="2437"/>
                  </a:lnTo>
                  <a:lnTo>
                    <a:pt x="1307" y="2525"/>
                  </a:lnTo>
                  <a:lnTo>
                    <a:pt x="1374" y="2559"/>
                  </a:lnTo>
                  <a:lnTo>
                    <a:pt x="1378" y="2577"/>
                  </a:lnTo>
                  <a:lnTo>
                    <a:pt x="1482" y="2665"/>
                  </a:lnTo>
                  <a:lnTo>
                    <a:pt x="1574" y="2558"/>
                  </a:lnTo>
                  <a:lnTo>
                    <a:pt x="1613" y="2536"/>
                  </a:lnTo>
                  <a:lnTo>
                    <a:pt x="1668" y="2642"/>
                  </a:lnTo>
                  <a:lnTo>
                    <a:pt x="1730" y="2703"/>
                  </a:lnTo>
                  <a:lnTo>
                    <a:pt x="1903" y="2626"/>
                  </a:lnTo>
                  <a:lnTo>
                    <a:pt x="2041" y="2673"/>
                  </a:lnTo>
                  <a:lnTo>
                    <a:pt x="2112" y="2611"/>
                  </a:lnTo>
                  <a:lnTo>
                    <a:pt x="2290" y="2601"/>
                  </a:lnTo>
                  <a:lnTo>
                    <a:pt x="2358" y="2689"/>
                  </a:lnTo>
                  <a:lnTo>
                    <a:pt x="2460" y="2753"/>
                  </a:lnTo>
                  <a:lnTo>
                    <a:pt x="2526" y="2695"/>
                  </a:lnTo>
                  <a:lnTo>
                    <a:pt x="2517" y="2652"/>
                  </a:lnTo>
                  <a:lnTo>
                    <a:pt x="2887" y="2263"/>
                  </a:lnTo>
                  <a:lnTo>
                    <a:pt x="2953" y="2257"/>
                  </a:lnTo>
                  <a:lnTo>
                    <a:pt x="2993" y="2208"/>
                  </a:lnTo>
                  <a:lnTo>
                    <a:pt x="3008" y="1988"/>
                  </a:lnTo>
                  <a:lnTo>
                    <a:pt x="2882" y="1794"/>
                  </a:lnTo>
                  <a:close/>
                </a:path>
              </a:pathLst>
            </a:custGeom>
            <a:solidFill>
              <a:srgbClr val="1D2631">
                <a:lumMod val="75000"/>
                <a:lumOff val="25000"/>
              </a:srgb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9" name="Freeform 306">
              <a:extLst>
                <a:ext uri="{FF2B5EF4-FFF2-40B4-BE49-F238E27FC236}">
                  <a16:creationId xmlns:a16="http://schemas.microsoft.com/office/drawing/2014/main" id="{EB3C7F04-4061-456C-9467-CF3F915F9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4302125"/>
              <a:ext cx="55563" cy="107950"/>
            </a:xfrm>
            <a:custGeom>
              <a:avLst/>
              <a:gdLst>
                <a:gd name="T0" fmla="*/ 176 w 176"/>
                <a:gd name="T1" fmla="*/ 195 h 339"/>
                <a:gd name="T2" fmla="*/ 167 w 176"/>
                <a:gd name="T3" fmla="*/ 308 h 339"/>
                <a:gd name="T4" fmla="*/ 80 w 176"/>
                <a:gd name="T5" fmla="*/ 339 h 339"/>
                <a:gd name="T6" fmla="*/ 33 w 176"/>
                <a:gd name="T7" fmla="*/ 329 h 339"/>
                <a:gd name="T8" fmla="*/ 0 w 176"/>
                <a:gd name="T9" fmla="*/ 290 h 339"/>
                <a:gd name="T10" fmla="*/ 2 w 176"/>
                <a:gd name="T11" fmla="*/ 196 h 339"/>
                <a:gd name="T12" fmla="*/ 34 w 176"/>
                <a:gd name="T13" fmla="*/ 80 h 339"/>
                <a:gd name="T14" fmla="*/ 118 w 176"/>
                <a:gd name="T15" fmla="*/ 0 h 339"/>
                <a:gd name="T16" fmla="*/ 128 w 176"/>
                <a:gd name="T17" fmla="*/ 83 h 339"/>
                <a:gd name="T18" fmla="*/ 176 w 176"/>
                <a:gd name="T19" fmla="*/ 195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6" h="339">
                  <a:moveTo>
                    <a:pt x="176" y="195"/>
                  </a:moveTo>
                  <a:lnTo>
                    <a:pt x="167" y="308"/>
                  </a:lnTo>
                  <a:lnTo>
                    <a:pt x="80" y="339"/>
                  </a:lnTo>
                  <a:lnTo>
                    <a:pt x="33" y="329"/>
                  </a:lnTo>
                  <a:lnTo>
                    <a:pt x="0" y="290"/>
                  </a:lnTo>
                  <a:lnTo>
                    <a:pt x="2" y="196"/>
                  </a:lnTo>
                  <a:lnTo>
                    <a:pt x="34" y="80"/>
                  </a:lnTo>
                  <a:lnTo>
                    <a:pt x="118" y="0"/>
                  </a:lnTo>
                  <a:lnTo>
                    <a:pt x="128" y="83"/>
                  </a:lnTo>
                  <a:lnTo>
                    <a:pt x="176" y="195"/>
                  </a:lnTo>
                  <a:close/>
                </a:path>
              </a:pathLst>
            </a:custGeom>
            <a:solidFill>
              <a:srgbClr val="1D2631">
                <a:lumMod val="75000"/>
                <a:lumOff val="25000"/>
              </a:srgb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0" name="Freeform 307">
              <a:extLst>
                <a:ext uri="{FF2B5EF4-FFF2-40B4-BE49-F238E27FC236}">
                  <a16:creationId xmlns:a16="http://schemas.microsoft.com/office/drawing/2014/main" id="{489189CA-4DDC-4792-9BFD-8F8DC8FA3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600" y="4121150"/>
              <a:ext cx="358775" cy="277813"/>
            </a:xfrm>
            <a:custGeom>
              <a:avLst/>
              <a:gdLst>
                <a:gd name="T0" fmla="*/ 1131 w 1131"/>
                <a:gd name="T1" fmla="*/ 454 h 871"/>
                <a:gd name="T2" fmla="*/ 1090 w 1131"/>
                <a:gd name="T3" fmla="*/ 567 h 871"/>
                <a:gd name="T4" fmla="*/ 1006 w 1131"/>
                <a:gd name="T5" fmla="*/ 647 h 871"/>
                <a:gd name="T6" fmla="*/ 974 w 1131"/>
                <a:gd name="T7" fmla="*/ 763 h 871"/>
                <a:gd name="T8" fmla="*/ 972 w 1131"/>
                <a:gd name="T9" fmla="*/ 857 h 871"/>
                <a:gd name="T10" fmla="*/ 872 w 1131"/>
                <a:gd name="T11" fmla="*/ 871 h 871"/>
                <a:gd name="T12" fmla="*/ 761 w 1131"/>
                <a:gd name="T13" fmla="*/ 806 h 871"/>
                <a:gd name="T14" fmla="*/ 707 w 1131"/>
                <a:gd name="T15" fmla="*/ 710 h 871"/>
                <a:gd name="T16" fmla="*/ 693 w 1131"/>
                <a:gd name="T17" fmla="*/ 611 h 871"/>
                <a:gd name="T18" fmla="*/ 663 w 1131"/>
                <a:gd name="T19" fmla="*/ 591 h 871"/>
                <a:gd name="T20" fmla="*/ 600 w 1131"/>
                <a:gd name="T21" fmla="*/ 677 h 871"/>
                <a:gd name="T22" fmla="*/ 494 w 1131"/>
                <a:gd name="T23" fmla="*/ 652 h 871"/>
                <a:gd name="T24" fmla="*/ 439 w 1131"/>
                <a:gd name="T25" fmla="*/ 546 h 871"/>
                <a:gd name="T26" fmla="*/ 384 w 1131"/>
                <a:gd name="T27" fmla="*/ 433 h 871"/>
                <a:gd name="T28" fmla="*/ 265 w 1131"/>
                <a:gd name="T29" fmla="*/ 438 h 871"/>
                <a:gd name="T30" fmla="*/ 215 w 1131"/>
                <a:gd name="T31" fmla="*/ 409 h 871"/>
                <a:gd name="T32" fmla="*/ 187 w 1131"/>
                <a:gd name="T33" fmla="*/ 323 h 871"/>
                <a:gd name="T34" fmla="*/ 134 w 1131"/>
                <a:gd name="T35" fmla="*/ 303 h 871"/>
                <a:gd name="T36" fmla="*/ 40 w 1131"/>
                <a:gd name="T37" fmla="*/ 334 h 871"/>
                <a:gd name="T38" fmla="*/ 27 w 1131"/>
                <a:gd name="T39" fmla="*/ 277 h 871"/>
                <a:gd name="T40" fmla="*/ 0 w 1131"/>
                <a:gd name="T41" fmla="*/ 228 h 871"/>
                <a:gd name="T42" fmla="*/ 5 w 1131"/>
                <a:gd name="T43" fmla="*/ 165 h 871"/>
                <a:gd name="T44" fmla="*/ 95 w 1131"/>
                <a:gd name="T45" fmla="*/ 111 h 871"/>
                <a:gd name="T46" fmla="*/ 188 w 1131"/>
                <a:gd name="T47" fmla="*/ 33 h 871"/>
                <a:gd name="T48" fmla="*/ 325 w 1131"/>
                <a:gd name="T49" fmla="*/ 126 h 871"/>
                <a:gd name="T50" fmla="*/ 412 w 1131"/>
                <a:gd name="T51" fmla="*/ 125 h 871"/>
                <a:gd name="T52" fmla="*/ 515 w 1131"/>
                <a:gd name="T53" fmla="*/ 74 h 871"/>
                <a:gd name="T54" fmla="*/ 594 w 1131"/>
                <a:gd name="T55" fmla="*/ 0 h 871"/>
                <a:gd name="T56" fmla="*/ 744 w 1131"/>
                <a:gd name="T57" fmla="*/ 6 h 871"/>
                <a:gd name="T58" fmla="*/ 801 w 1131"/>
                <a:gd name="T59" fmla="*/ 38 h 871"/>
                <a:gd name="T60" fmla="*/ 891 w 1131"/>
                <a:gd name="T61" fmla="*/ 35 h 871"/>
                <a:gd name="T62" fmla="*/ 938 w 1131"/>
                <a:gd name="T63" fmla="*/ 47 h 871"/>
                <a:gd name="T64" fmla="*/ 965 w 1131"/>
                <a:gd name="T65" fmla="*/ 104 h 871"/>
                <a:gd name="T66" fmla="*/ 936 w 1131"/>
                <a:gd name="T67" fmla="*/ 160 h 871"/>
                <a:gd name="T68" fmla="*/ 879 w 1131"/>
                <a:gd name="T69" fmla="*/ 207 h 871"/>
                <a:gd name="T70" fmla="*/ 907 w 1131"/>
                <a:gd name="T71" fmla="*/ 266 h 871"/>
                <a:gd name="T72" fmla="*/ 967 w 1131"/>
                <a:gd name="T73" fmla="*/ 285 h 871"/>
                <a:gd name="T74" fmla="*/ 1053 w 1131"/>
                <a:gd name="T75" fmla="*/ 272 h 871"/>
                <a:gd name="T76" fmla="*/ 1087 w 1131"/>
                <a:gd name="T77" fmla="*/ 334 h 871"/>
                <a:gd name="T78" fmla="*/ 1131 w 1131"/>
                <a:gd name="T79" fmla="*/ 348 h 871"/>
                <a:gd name="T80" fmla="*/ 1131 w 1131"/>
                <a:gd name="T81" fmla="*/ 454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31" h="871">
                  <a:moveTo>
                    <a:pt x="1131" y="454"/>
                  </a:moveTo>
                  <a:lnTo>
                    <a:pt x="1090" y="567"/>
                  </a:lnTo>
                  <a:lnTo>
                    <a:pt x="1006" y="647"/>
                  </a:lnTo>
                  <a:lnTo>
                    <a:pt x="974" y="763"/>
                  </a:lnTo>
                  <a:lnTo>
                    <a:pt x="972" y="857"/>
                  </a:lnTo>
                  <a:lnTo>
                    <a:pt x="872" y="871"/>
                  </a:lnTo>
                  <a:lnTo>
                    <a:pt x="761" y="806"/>
                  </a:lnTo>
                  <a:lnTo>
                    <a:pt x="707" y="710"/>
                  </a:lnTo>
                  <a:lnTo>
                    <a:pt x="693" y="611"/>
                  </a:lnTo>
                  <a:lnTo>
                    <a:pt x="663" y="591"/>
                  </a:lnTo>
                  <a:lnTo>
                    <a:pt x="600" y="677"/>
                  </a:lnTo>
                  <a:lnTo>
                    <a:pt x="494" y="652"/>
                  </a:lnTo>
                  <a:lnTo>
                    <a:pt x="439" y="546"/>
                  </a:lnTo>
                  <a:lnTo>
                    <a:pt x="384" y="433"/>
                  </a:lnTo>
                  <a:lnTo>
                    <a:pt x="265" y="438"/>
                  </a:lnTo>
                  <a:lnTo>
                    <a:pt x="215" y="409"/>
                  </a:lnTo>
                  <a:lnTo>
                    <a:pt x="187" y="323"/>
                  </a:lnTo>
                  <a:lnTo>
                    <a:pt x="134" y="303"/>
                  </a:lnTo>
                  <a:lnTo>
                    <a:pt x="40" y="334"/>
                  </a:lnTo>
                  <a:lnTo>
                    <a:pt x="27" y="277"/>
                  </a:lnTo>
                  <a:lnTo>
                    <a:pt x="0" y="228"/>
                  </a:lnTo>
                  <a:lnTo>
                    <a:pt x="5" y="165"/>
                  </a:lnTo>
                  <a:lnTo>
                    <a:pt x="95" y="111"/>
                  </a:lnTo>
                  <a:lnTo>
                    <a:pt x="188" y="33"/>
                  </a:lnTo>
                  <a:lnTo>
                    <a:pt x="325" y="126"/>
                  </a:lnTo>
                  <a:lnTo>
                    <a:pt x="412" y="125"/>
                  </a:lnTo>
                  <a:lnTo>
                    <a:pt x="515" y="74"/>
                  </a:lnTo>
                  <a:lnTo>
                    <a:pt x="594" y="0"/>
                  </a:lnTo>
                  <a:lnTo>
                    <a:pt x="744" y="6"/>
                  </a:lnTo>
                  <a:lnTo>
                    <a:pt x="801" y="38"/>
                  </a:lnTo>
                  <a:lnTo>
                    <a:pt x="891" y="35"/>
                  </a:lnTo>
                  <a:lnTo>
                    <a:pt x="938" y="47"/>
                  </a:lnTo>
                  <a:lnTo>
                    <a:pt x="965" y="104"/>
                  </a:lnTo>
                  <a:lnTo>
                    <a:pt x="936" y="160"/>
                  </a:lnTo>
                  <a:lnTo>
                    <a:pt x="879" y="207"/>
                  </a:lnTo>
                  <a:lnTo>
                    <a:pt x="907" y="266"/>
                  </a:lnTo>
                  <a:lnTo>
                    <a:pt x="967" y="285"/>
                  </a:lnTo>
                  <a:lnTo>
                    <a:pt x="1053" y="272"/>
                  </a:lnTo>
                  <a:lnTo>
                    <a:pt x="1087" y="334"/>
                  </a:lnTo>
                  <a:lnTo>
                    <a:pt x="1131" y="348"/>
                  </a:lnTo>
                  <a:lnTo>
                    <a:pt x="1131" y="454"/>
                  </a:lnTo>
                  <a:close/>
                </a:path>
              </a:pathLst>
            </a:custGeom>
            <a:solidFill>
              <a:srgbClr val="1D2631">
                <a:lumMod val="75000"/>
                <a:lumOff val="25000"/>
              </a:srgb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1" name="Freeform 308">
              <a:extLst>
                <a:ext uri="{FF2B5EF4-FFF2-40B4-BE49-F238E27FC236}">
                  <a16:creationId xmlns:a16="http://schemas.microsoft.com/office/drawing/2014/main" id="{418BD78C-85F3-4862-A3D4-6F650505B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4645025"/>
              <a:ext cx="430213" cy="255588"/>
            </a:xfrm>
            <a:custGeom>
              <a:avLst/>
              <a:gdLst>
                <a:gd name="T0" fmla="*/ 1284 w 1352"/>
                <a:gd name="T1" fmla="*/ 344 h 804"/>
                <a:gd name="T2" fmla="*/ 1202 w 1352"/>
                <a:gd name="T3" fmla="*/ 432 h 804"/>
                <a:gd name="T4" fmla="*/ 1150 w 1352"/>
                <a:gd name="T5" fmla="*/ 310 h 804"/>
                <a:gd name="T6" fmla="*/ 1053 w 1352"/>
                <a:gd name="T7" fmla="*/ 274 h 804"/>
                <a:gd name="T8" fmla="*/ 1105 w 1352"/>
                <a:gd name="T9" fmla="*/ 100 h 804"/>
                <a:gd name="T10" fmla="*/ 945 w 1352"/>
                <a:gd name="T11" fmla="*/ 79 h 804"/>
                <a:gd name="T12" fmla="*/ 815 w 1352"/>
                <a:gd name="T13" fmla="*/ 50 h 804"/>
                <a:gd name="T14" fmla="*/ 731 w 1352"/>
                <a:gd name="T15" fmla="*/ 81 h 804"/>
                <a:gd name="T16" fmla="*/ 589 w 1352"/>
                <a:gd name="T17" fmla="*/ 102 h 804"/>
                <a:gd name="T18" fmla="*/ 422 w 1352"/>
                <a:gd name="T19" fmla="*/ 87 h 804"/>
                <a:gd name="T20" fmla="*/ 341 w 1352"/>
                <a:gd name="T21" fmla="*/ 115 h 804"/>
                <a:gd name="T22" fmla="*/ 289 w 1352"/>
                <a:gd name="T23" fmla="*/ 178 h 804"/>
                <a:gd name="T24" fmla="*/ 203 w 1352"/>
                <a:gd name="T25" fmla="*/ 282 h 804"/>
                <a:gd name="T26" fmla="*/ 134 w 1352"/>
                <a:gd name="T27" fmla="*/ 369 h 804"/>
                <a:gd name="T28" fmla="*/ 52 w 1352"/>
                <a:gd name="T29" fmla="*/ 499 h 804"/>
                <a:gd name="T30" fmla="*/ 4 w 1352"/>
                <a:gd name="T31" fmla="*/ 615 h 804"/>
                <a:gd name="T32" fmla="*/ 20 w 1352"/>
                <a:gd name="T33" fmla="*/ 721 h 804"/>
                <a:gd name="T34" fmla="*/ 55 w 1352"/>
                <a:gd name="T35" fmla="*/ 651 h 804"/>
                <a:gd name="T36" fmla="*/ 72 w 1352"/>
                <a:gd name="T37" fmla="*/ 618 h 804"/>
                <a:gd name="T38" fmla="*/ 144 w 1352"/>
                <a:gd name="T39" fmla="*/ 561 h 804"/>
                <a:gd name="T40" fmla="*/ 249 w 1352"/>
                <a:gd name="T41" fmla="*/ 629 h 804"/>
                <a:gd name="T42" fmla="*/ 243 w 1352"/>
                <a:gd name="T43" fmla="*/ 639 h 804"/>
                <a:gd name="T44" fmla="*/ 434 w 1352"/>
                <a:gd name="T45" fmla="*/ 744 h 804"/>
                <a:gd name="T46" fmla="*/ 594 w 1352"/>
                <a:gd name="T47" fmla="*/ 733 h 804"/>
                <a:gd name="T48" fmla="*/ 693 w 1352"/>
                <a:gd name="T49" fmla="*/ 616 h 804"/>
                <a:gd name="T50" fmla="*/ 767 w 1352"/>
                <a:gd name="T51" fmla="*/ 652 h 804"/>
                <a:gd name="T52" fmla="*/ 844 w 1352"/>
                <a:gd name="T53" fmla="*/ 710 h 804"/>
                <a:gd name="T54" fmla="*/ 844 w 1352"/>
                <a:gd name="T55" fmla="*/ 717 h 804"/>
                <a:gd name="T56" fmla="*/ 845 w 1352"/>
                <a:gd name="T57" fmla="*/ 780 h 804"/>
                <a:gd name="T58" fmla="*/ 845 w 1352"/>
                <a:gd name="T59" fmla="*/ 783 h 804"/>
                <a:gd name="T60" fmla="*/ 849 w 1352"/>
                <a:gd name="T61" fmla="*/ 790 h 804"/>
                <a:gd name="T62" fmla="*/ 862 w 1352"/>
                <a:gd name="T63" fmla="*/ 797 h 804"/>
                <a:gd name="T64" fmla="*/ 878 w 1352"/>
                <a:gd name="T65" fmla="*/ 803 h 804"/>
                <a:gd name="T66" fmla="*/ 896 w 1352"/>
                <a:gd name="T67" fmla="*/ 664 h 804"/>
                <a:gd name="T68" fmla="*/ 1020 w 1352"/>
                <a:gd name="T69" fmla="*/ 649 h 804"/>
                <a:gd name="T70" fmla="*/ 1137 w 1352"/>
                <a:gd name="T71" fmla="*/ 628 h 804"/>
                <a:gd name="T72" fmla="*/ 1217 w 1352"/>
                <a:gd name="T73" fmla="*/ 671 h 804"/>
                <a:gd name="T74" fmla="*/ 1342 w 1352"/>
                <a:gd name="T75" fmla="*/ 514 h 804"/>
                <a:gd name="T76" fmla="*/ 1314 w 1352"/>
                <a:gd name="T77" fmla="*/ 391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52" h="804">
                  <a:moveTo>
                    <a:pt x="1314" y="391"/>
                  </a:moveTo>
                  <a:lnTo>
                    <a:pt x="1284" y="344"/>
                  </a:lnTo>
                  <a:lnTo>
                    <a:pt x="1254" y="381"/>
                  </a:lnTo>
                  <a:lnTo>
                    <a:pt x="1202" y="432"/>
                  </a:lnTo>
                  <a:lnTo>
                    <a:pt x="1174" y="392"/>
                  </a:lnTo>
                  <a:lnTo>
                    <a:pt x="1150" y="310"/>
                  </a:lnTo>
                  <a:lnTo>
                    <a:pt x="1073" y="313"/>
                  </a:lnTo>
                  <a:lnTo>
                    <a:pt x="1053" y="274"/>
                  </a:lnTo>
                  <a:lnTo>
                    <a:pt x="1082" y="241"/>
                  </a:lnTo>
                  <a:lnTo>
                    <a:pt x="1105" y="100"/>
                  </a:lnTo>
                  <a:lnTo>
                    <a:pt x="1019" y="101"/>
                  </a:lnTo>
                  <a:lnTo>
                    <a:pt x="945" y="79"/>
                  </a:lnTo>
                  <a:lnTo>
                    <a:pt x="892" y="0"/>
                  </a:lnTo>
                  <a:lnTo>
                    <a:pt x="815" y="50"/>
                  </a:lnTo>
                  <a:lnTo>
                    <a:pt x="781" y="21"/>
                  </a:lnTo>
                  <a:lnTo>
                    <a:pt x="731" y="81"/>
                  </a:lnTo>
                  <a:lnTo>
                    <a:pt x="651" y="68"/>
                  </a:lnTo>
                  <a:lnTo>
                    <a:pt x="589" y="102"/>
                  </a:lnTo>
                  <a:lnTo>
                    <a:pt x="495" y="77"/>
                  </a:lnTo>
                  <a:lnTo>
                    <a:pt x="422" y="87"/>
                  </a:lnTo>
                  <a:lnTo>
                    <a:pt x="376" y="134"/>
                  </a:lnTo>
                  <a:lnTo>
                    <a:pt x="341" y="115"/>
                  </a:lnTo>
                  <a:lnTo>
                    <a:pt x="292" y="118"/>
                  </a:lnTo>
                  <a:lnTo>
                    <a:pt x="289" y="178"/>
                  </a:lnTo>
                  <a:lnTo>
                    <a:pt x="312" y="214"/>
                  </a:lnTo>
                  <a:lnTo>
                    <a:pt x="203" y="282"/>
                  </a:lnTo>
                  <a:lnTo>
                    <a:pt x="188" y="332"/>
                  </a:lnTo>
                  <a:lnTo>
                    <a:pt x="134" y="369"/>
                  </a:lnTo>
                  <a:lnTo>
                    <a:pt x="125" y="415"/>
                  </a:lnTo>
                  <a:lnTo>
                    <a:pt x="52" y="499"/>
                  </a:lnTo>
                  <a:lnTo>
                    <a:pt x="46" y="558"/>
                  </a:lnTo>
                  <a:lnTo>
                    <a:pt x="4" y="615"/>
                  </a:lnTo>
                  <a:lnTo>
                    <a:pt x="0" y="725"/>
                  </a:lnTo>
                  <a:lnTo>
                    <a:pt x="20" y="721"/>
                  </a:lnTo>
                  <a:lnTo>
                    <a:pt x="66" y="651"/>
                  </a:lnTo>
                  <a:lnTo>
                    <a:pt x="55" y="651"/>
                  </a:lnTo>
                  <a:lnTo>
                    <a:pt x="34" y="673"/>
                  </a:lnTo>
                  <a:lnTo>
                    <a:pt x="72" y="618"/>
                  </a:lnTo>
                  <a:lnTo>
                    <a:pt x="97" y="578"/>
                  </a:lnTo>
                  <a:lnTo>
                    <a:pt x="144" y="561"/>
                  </a:lnTo>
                  <a:lnTo>
                    <a:pt x="220" y="573"/>
                  </a:lnTo>
                  <a:lnTo>
                    <a:pt x="249" y="629"/>
                  </a:lnTo>
                  <a:lnTo>
                    <a:pt x="240" y="636"/>
                  </a:lnTo>
                  <a:lnTo>
                    <a:pt x="243" y="639"/>
                  </a:lnTo>
                  <a:lnTo>
                    <a:pt x="318" y="804"/>
                  </a:lnTo>
                  <a:lnTo>
                    <a:pt x="434" y="744"/>
                  </a:lnTo>
                  <a:lnTo>
                    <a:pt x="524" y="753"/>
                  </a:lnTo>
                  <a:lnTo>
                    <a:pt x="594" y="733"/>
                  </a:lnTo>
                  <a:lnTo>
                    <a:pt x="657" y="623"/>
                  </a:lnTo>
                  <a:lnTo>
                    <a:pt x="693" y="616"/>
                  </a:lnTo>
                  <a:lnTo>
                    <a:pt x="712" y="583"/>
                  </a:lnTo>
                  <a:lnTo>
                    <a:pt x="767" y="652"/>
                  </a:lnTo>
                  <a:lnTo>
                    <a:pt x="838" y="712"/>
                  </a:lnTo>
                  <a:lnTo>
                    <a:pt x="844" y="710"/>
                  </a:lnTo>
                  <a:lnTo>
                    <a:pt x="841" y="714"/>
                  </a:lnTo>
                  <a:lnTo>
                    <a:pt x="844" y="717"/>
                  </a:lnTo>
                  <a:lnTo>
                    <a:pt x="844" y="717"/>
                  </a:lnTo>
                  <a:lnTo>
                    <a:pt x="845" y="780"/>
                  </a:lnTo>
                  <a:lnTo>
                    <a:pt x="845" y="780"/>
                  </a:lnTo>
                  <a:lnTo>
                    <a:pt x="845" y="783"/>
                  </a:lnTo>
                  <a:lnTo>
                    <a:pt x="846" y="785"/>
                  </a:lnTo>
                  <a:lnTo>
                    <a:pt x="849" y="790"/>
                  </a:lnTo>
                  <a:lnTo>
                    <a:pt x="855" y="793"/>
                  </a:lnTo>
                  <a:lnTo>
                    <a:pt x="862" y="797"/>
                  </a:lnTo>
                  <a:lnTo>
                    <a:pt x="873" y="801"/>
                  </a:lnTo>
                  <a:lnTo>
                    <a:pt x="878" y="803"/>
                  </a:lnTo>
                  <a:lnTo>
                    <a:pt x="909" y="793"/>
                  </a:lnTo>
                  <a:lnTo>
                    <a:pt x="896" y="664"/>
                  </a:lnTo>
                  <a:lnTo>
                    <a:pt x="920" y="630"/>
                  </a:lnTo>
                  <a:lnTo>
                    <a:pt x="1020" y="649"/>
                  </a:lnTo>
                  <a:lnTo>
                    <a:pt x="1080" y="615"/>
                  </a:lnTo>
                  <a:lnTo>
                    <a:pt x="1137" y="628"/>
                  </a:lnTo>
                  <a:lnTo>
                    <a:pt x="1197" y="667"/>
                  </a:lnTo>
                  <a:lnTo>
                    <a:pt x="1217" y="671"/>
                  </a:lnTo>
                  <a:lnTo>
                    <a:pt x="1236" y="604"/>
                  </a:lnTo>
                  <a:lnTo>
                    <a:pt x="1342" y="514"/>
                  </a:lnTo>
                  <a:lnTo>
                    <a:pt x="1352" y="467"/>
                  </a:lnTo>
                  <a:lnTo>
                    <a:pt x="1314" y="391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2" name="Freeform 309">
              <a:extLst>
                <a:ext uri="{FF2B5EF4-FFF2-40B4-BE49-F238E27FC236}">
                  <a16:creationId xmlns:a16="http://schemas.microsoft.com/office/drawing/2014/main" id="{8283A737-BF63-4ACE-AE40-0748A5A2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9350" y="4721225"/>
              <a:ext cx="30163" cy="23813"/>
            </a:xfrm>
            <a:custGeom>
              <a:avLst/>
              <a:gdLst>
                <a:gd name="T0" fmla="*/ 97 w 97"/>
                <a:gd name="T1" fmla="*/ 69 h 72"/>
                <a:gd name="T2" fmla="*/ 20 w 97"/>
                <a:gd name="T3" fmla="*/ 72 h 72"/>
                <a:gd name="T4" fmla="*/ 0 w 97"/>
                <a:gd name="T5" fmla="*/ 33 h 72"/>
                <a:gd name="T6" fmla="*/ 29 w 97"/>
                <a:gd name="T7" fmla="*/ 0 h 72"/>
                <a:gd name="T8" fmla="*/ 97 w 97"/>
                <a:gd name="T9" fmla="*/ 6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72">
                  <a:moveTo>
                    <a:pt x="97" y="69"/>
                  </a:moveTo>
                  <a:lnTo>
                    <a:pt x="20" y="72"/>
                  </a:lnTo>
                  <a:lnTo>
                    <a:pt x="0" y="33"/>
                  </a:lnTo>
                  <a:lnTo>
                    <a:pt x="29" y="0"/>
                  </a:lnTo>
                  <a:lnTo>
                    <a:pt x="97" y="69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3" name="Freeform 310">
              <a:extLst>
                <a:ext uri="{FF2B5EF4-FFF2-40B4-BE49-F238E27FC236}">
                  <a16:creationId xmlns:a16="http://schemas.microsoft.com/office/drawing/2014/main" id="{49760663-5EC3-493A-A861-F4F20F4C0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8875" y="4464050"/>
              <a:ext cx="704850" cy="369888"/>
            </a:xfrm>
            <a:custGeom>
              <a:avLst/>
              <a:gdLst>
                <a:gd name="T0" fmla="*/ 2166 w 2220"/>
                <a:gd name="T1" fmla="*/ 482 h 1162"/>
                <a:gd name="T2" fmla="*/ 2124 w 2220"/>
                <a:gd name="T3" fmla="*/ 457 h 1162"/>
                <a:gd name="T4" fmla="*/ 2082 w 2220"/>
                <a:gd name="T5" fmla="*/ 517 h 1162"/>
                <a:gd name="T6" fmla="*/ 2053 w 2220"/>
                <a:gd name="T7" fmla="*/ 757 h 1162"/>
                <a:gd name="T8" fmla="*/ 1909 w 2220"/>
                <a:gd name="T9" fmla="*/ 1016 h 1162"/>
                <a:gd name="T10" fmla="*/ 1784 w 2220"/>
                <a:gd name="T11" fmla="*/ 1017 h 1162"/>
                <a:gd name="T12" fmla="*/ 1607 w 2220"/>
                <a:gd name="T13" fmla="*/ 1045 h 1162"/>
                <a:gd name="T14" fmla="*/ 1186 w 2220"/>
                <a:gd name="T15" fmla="*/ 1110 h 1162"/>
                <a:gd name="T16" fmla="*/ 847 w 2220"/>
                <a:gd name="T17" fmla="*/ 1047 h 1162"/>
                <a:gd name="T18" fmla="*/ 726 w 2220"/>
                <a:gd name="T19" fmla="*/ 871 h 1162"/>
                <a:gd name="T20" fmla="*/ 420 w 2220"/>
                <a:gd name="T21" fmla="*/ 993 h 1162"/>
                <a:gd name="T22" fmla="*/ 232 w 2220"/>
                <a:gd name="T23" fmla="*/ 960 h 1162"/>
                <a:gd name="T24" fmla="*/ 172 w 2220"/>
                <a:gd name="T25" fmla="*/ 950 h 1162"/>
                <a:gd name="T26" fmla="*/ 92 w 2220"/>
                <a:gd name="T27" fmla="*/ 961 h 1162"/>
                <a:gd name="T28" fmla="*/ 0 w 2220"/>
                <a:gd name="T29" fmla="*/ 810 h 1162"/>
                <a:gd name="T30" fmla="*/ 66 w 2220"/>
                <a:gd name="T31" fmla="*/ 665 h 1162"/>
                <a:gd name="T32" fmla="*/ 222 w 2220"/>
                <a:gd name="T33" fmla="*/ 761 h 1162"/>
                <a:gd name="T34" fmla="*/ 258 w 2220"/>
                <a:gd name="T35" fmla="*/ 677 h 1162"/>
                <a:gd name="T36" fmla="*/ 436 w 2220"/>
                <a:gd name="T37" fmla="*/ 724 h 1162"/>
                <a:gd name="T38" fmla="*/ 612 w 2220"/>
                <a:gd name="T39" fmla="*/ 625 h 1162"/>
                <a:gd name="T40" fmla="*/ 878 w 2220"/>
                <a:gd name="T41" fmla="*/ 596 h 1162"/>
                <a:gd name="T42" fmla="*/ 1008 w 2220"/>
                <a:gd name="T43" fmla="*/ 590 h 1162"/>
                <a:gd name="T44" fmla="*/ 949 w 2220"/>
                <a:gd name="T45" fmla="*/ 418 h 1162"/>
                <a:gd name="T46" fmla="*/ 1134 w 2220"/>
                <a:gd name="T47" fmla="*/ 315 h 1162"/>
                <a:gd name="T48" fmla="*/ 1244 w 2220"/>
                <a:gd name="T49" fmla="*/ 154 h 1162"/>
                <a:gd name="T50" fmla="*/ 1391 w 2220"/>
                <a:gd name="T51" fmla="*/ 192 h 1162"/>
                <a:gd name="T52" fmla="*/ 1492 w 2220"/>
                <a:gd name="T53" fmla="*/ 200 h 1162"/>
                <a:gd name="T54" fmla="*/ 1612 w 2220"/>
                <a:gd name="T55" fmla="*/ 115 h 1162"/>
                <a:gd name="T56" fmla="*/ 1646 w 2220"/>
                <a:gd name="T57" fmla="*/ 0 h 1162"/>
                <a:gd name="T58" fmla="*/ 1824 w 2220"/>
                <a:gd name="T59" fmla="*/ 34 h 1162"/>
                <a:gd name="T60" fmla="*/ 2052 w 2220"/>
                <a:gd name="T61" fmla="*/ 85 h 1162"/>
                <a:gd name="T62" fmla="*/ 2137 w 2220"/>
                <a:gd name="T63" fmla="*/ 186 h 1162"/>
                <a:gd name="T64" fmla="*/ 2205 w 2220"/>
                <a:gd name="T65" fmla="*/ 411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20" h="1162">
                  <a:moveTo>
                    <a:pt x="2220" y="495"/>
                  </a:moveTo>
                  <a:lnTo>
                    <a:pt x="2166" y="482"/>
                  </a:lnTo>
                  <a:lnTo>
                    <a:pt x="2133" y="501"/>
                  </a:lnTo>
                  <a:lnTo>
                    <a:pt x="2124" y="457"/>
                  </a:lnTo>
                  <a:lnTo>
                    <a:pt x="2093" y="486"/>
                  </a:lnTo>
                  <a:lnTo>
                    <a:pt x="2082" y="517"/>
                  </a:lnTo>
                  <a:lnTo>
                    <a:pt x="2086" y="528"/>
                  </a:lnTo>
                  <a:lnTo>
                    <a:pt x="2053" y="757"/>
                  </a:lnTo>
                  <a:lnTo>
                    <a:pt x="1917" y="913"/>
                  </a:lnTo>
                  <a:lnTo>
                    <a:pt x="1909" y="1016"/>
                  </a:lnTo>
                  <a:lnTo>
                    <a:pt x="1869" y="1056"/>
                  </a:lnTo>
                  <a:lnTo>
                    <a:pt x="1784" y="1017"/>
                  </a:lnTo>
                  <a:lnTo>
                    <a:pt x="1710" y="1044"/>
                  </a:lnTo>
                  <a:lnTo>
                    <a:pt x="1607" y="1045"/>
                  </a:lnTo>
                  <a:lnTo>
                    <a:pt x="1457" y="1162"/>
                  </a:lnTo>
                  <a:lnTo>
                    <a:pt x="1186" y="1110"/>
                  </a:lnTo>
                  <a:lnTo>
                    <a:pt x="1074" y="1054"/>
                  </a:lnTo>
                  <a:lnTo>
                    <a:pt x="847" y="1047"/>
                  </a:lnTo>
                  <a:lnTo>
                    <a:pt x="794" y="963"/>
                  </a:lnTo>
                  <a:lnTo>
                    <a:pt x="726" y="871"/>
                  </a:lnTo>
                  <a:lnTo>
                    <a:pt x="491" y="922"/>
                  </a:lnTo>
                  <a:lnTo>
                    <a:pt x="420" y="993"/>
                  </a:lnTo>
                  <a:lnTo>
                    <a:pt x="309" y="959"/>
                  </a:lnTo>
                  <a:lnTo>
                    <a:pt x="232" y="960"/>
                  </a:lnTo>
                  <a:lnTo>
                    <a:pt x="202" y="913"/>
                  </a:lnTo>
                  <a:lnTo>
                    <a:pt x="172" y="950"/>
                  </a:lnTo>
                  <a:lnTo>
                    <a:pt x="120" y="1001"/>
                  </a:lnTo>
                  <a:lnTo>
                    <a:pt x="92" y="961"/>
                  </a:lnTo>
                  <a:lnTo>
                    <a:pt x="68" y="879"/>
                  </a:lnTo>
                  <a:lnTo>
                    <a:pt x="0" y="810"/>
                  </a:lnTo>
                  <a:lnTo>
                    <a:pt x="23" y="669"/>
                  </a:lnTo>
                  <a:lnTo>
                    <a:pt x="66" y="665"/>
                  </a:lnTo>
                  <a:lnTo>
                    <a:pt x="161" y="757"/>
                  </a:lnTo>
                  <a:lnTo>
                    <a:pt x="222" y="761"/>
                  </a:lnTo>
                  <a:lnTo>
                    <a:pt x="267" y="711"/>
                  </a:lnTo>
                  <a:lnTo>
                    <a:pt x="258" y="677"/>
                  </a:lnTo>
                  <a:lnTo>
                    <a:pt x="337" y="662"/>
                  </a:lnTo>
                  <a:lnTo>
                    <a:pt x="436" y="724"/>
                  </a:lnTo>
                  <a:lnTo>
                    <a:pt x="560" y="700"/>
                  </a:lnTo>
                  <a:lnTo>
                    <a:pt x="612" y="625"/>
                  </a:lnTo>
                  <a:lnTo>
                    <a:pt x="808" y="631"/>
                  </a:lnTo>
                  <a:lnTo>
                    <a:pt x="878" y="596"/>
                  </a:lnTo>
                  <a:lnTo>
                    <a:pt x="1034" y="660"/>
                  </a:lnTo>
                  <a:lnTo>
                    <a:pt x="1008" y="590"/>
                  </a:lnTo>
                  <a:lnTo>
                    <a:pt x="1033" y="537"/>
                  </a:lnTo>
                  <a:lnTo>
                    <a:pt x="949" y="418"/>
                  </a:lnTo>
                  <a:lnTo>
                    <a:pt x="1072" y="315"/>
                  </a:lnTo>
                  <a:lnTo>
                    <a:pt x="1134" y="315"/>
                  </a:lnTo>
                  <a:lnTo>
                    <a:pt x="1147" y="226"/>
                  </a:lnTo>
                  <a:lnTo>
                    <a:pt x="1244" y="154"/>
                  </a:lnTo>
                  <a:lnTo>
                    <a:pt x="1306" y="185"/>
                  </a:lnTo>
                  <a:lnTo>
                    <a:pt x="1391" y="192"/>
                  </a:lnTo>
                  <a:lnTo>
                    <a:pt x="1431" y="223"/>
                  </a:lnTo>
                  <a:lnTo>
                    <a:pt x="1492" y="200"/>
                  </a:lnTo>
                  <a:lnTo>
                    <a:pt x="1492" y="143"/>
                  </a:lnTo>
                  <a:lnTo>
                    <a:pt x="1612" y="115"/>
                  </a:lnTo>
                  <a:lnTo>
                    <a:pt x="1589" y="5"/>
                  </a:lnTo>
                  <a:lnTo>
                    <a:pt x="1646" y="0"/>
                  </a:lnTo>
                  <a:lnTo>
                    <a:pt x="1710" y="53"/>
                  </a:lnTo>
                  <a:lnTo>
                    <a:pt x="1824" y="34"/>
                  </a:lnTo>
                  <a:lnTo>
                    <a:pt x="1967" y="90"/>
                  </a:lnTo>
                  <a:lnTo>
                    <a:pt x="2052" y="85"/>
                  </a:lnTo>
                  <a:lnTo>
                    <a:pt x="2154" y="89"/>
                  </a:lnTo>
                  <a:lnTo>
                    <a:pt x="2137" y="186"/>
                  </a:lnTo>
                  <a:lnTo>
                    <a:pt x="2165" y="367"/>
                  </a:lnTo>
                  <a:lnTo>
                    <a:pt x="2205" y="411"/>
                  </a:lnTo>
                  <a:lnTo>
                    <a:pt x="2220" y="495"/>
                  </a:lnTo>
                  <a:close/>
                </a:path>
              </a:pathLst>
            </a:custGeom>
            <a:solidFill>
              <a:srgbClr val="1D2631">
                <a:lumMod val="75000"/>
                <a:lumOff val="25000"/>
              </a:srgb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4" name="Freeform 311">
              <a:extLst>
                <a:ext uri="{FF2B5EF4-FFF2-40B4-BE49-F238E27FC236}">
                  <a16:creationId xmlns:a16="http://schemas.microsoft.com/office/drawing/2014/main" id="{B1BF8764-E2EB-44FB-A824-84439C24E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2238" y="4168775"/>
              <a:ext cx="628650" cy="366713"/>
            </a:xfrm>
            <a:custGeom>
              <a:avLst/>
              <a:gdLst>
                <a:gd name="T0" fmla="*/ 1984 w 1984"/>
                <a:gd name="T1" fmla="*/ 675 h 1156"/>
                <a:gd name="T2" fmla="*/ 1963 w 1984"/>
                <a:gd name="T3" fmla="*/ 702 h 1156"/>
                <a:gd name="T4" fmla="*/ 1834 w 1984"/>
                <a:gd name="T5" fmla="*/ 730 h 1156"/>
                <a:gd name="T6" fmla="*/ 1777 w 1984"/>
                <a:gd name="T7" fmla="*/ 823 h 1156"/>
                <a:gd name="T8" fmla="*/ 1667 w 1984"/>
                <a:gd name="T9" fmla="*/ 900 h 1156"/>
                <a:gd name="T10" fmla="*/ 1609 w 1984"/>
                <a:gd name="T11" fmla="*/ 936 h 1156"/>
                <a:gd name="T12" fmla="*/ 1472 w 1984"/>
                <a:gd name="T13" fmla="*/ 933 h 1156"/>
                <a:gd name="T14" fmla="*/ 1419 w 1984"/>
                <a:gd name="T15" fmla="*/ 1022 h 1156"/>
                <a:gd name="T16" fmla="*/ 1317 w 1984"/>
                <a:gd name="T17" fmla="*/ 1018 h 1156"/>
                <a:gd name="T18" fmla="*/ 1232 w 1984"/>
                <a:gd name="T19" fmla="*/ 1023 h 1156"/>
                <a:gd name="T20" fmla="*/ 1089 w 1984"/>
                <a:gd name="T21" fmla="*/ 967 h 1156"/>
                <a:gd name="T22" fmla="*/ 975 w 1984"/>
                <a:gd name="T23" fmla="*/ 986 h 1156"/>
                <a:gd name="T24" fmla="*/ 911 w 1984"/>
                <a:gd name="T25" fmla="*/ 933 h 1156"/>
                <a:gd name="T26" fmla="*/ 854 w 1984"/>
                <a:gd name="T27" fmla="*/ 938 h 1156"/>
                <a:gd name="T28" fmla="*/ 877 w 1984"/>
                <a:gd name="T29" fmla="*/ 1048 h 1156"/>
                <a:gd name="T30" fmla="*/ 757 w 1984"/>
                <a:gd name="T31" fmla="*/ 1076 h 1156"/>
                <a:gd name="T32" fmla="*/ 757 w 1984"/>
                <a:gd name="T33" fmla="*/ 1133 h 1156"/>
                <a:gd name="T34" fmla="*/ 696 w 1984"/>
                <a:gd name="T35" fmla="*/ 1156 h 1156"/>
                <a:gd name="T36" fmla="*/ 656 w 1984"/>
                <a:gd name="T37" fmla="*/ 1125 h 1156"/>
                <a:gd name="T38" fmla="*/ 571 w 1984"/>
                <a:gd name="T39" fmla="*/ 1118 h 1156"/>
                <a:gd name="T40" fmla="*/ 509 w 1984"/>
                <a:gd name="T41" fmla="*/ 1087 h 1156"/>
                <a:gd name="T42" fmla="*/ 485 w 1984"/>
                <a:gd name="T43" fmla="*/ 1043 h 1156"/>
                <a:gd name="T44" fmla="*/ 378 w 1984"/>
                <a:gd name="T45" fmla="*/ 965 h 1156"/>
                <a:gd name="T46" fmla="*/ 355 w 1984"/>
                <a:gd name="T47" fmla="*/ 876 h 1156"/>
                <a:gd name="T48" fmla="*/ 248 w 1984"/>
                <a:gd name="T49" fmla="*/ 816 h 1156"/>
                <a:gd name="T50" fmla="*/ 132 w 1984"/>
                <a:gd name="T51" fmla="*/ 692 h 1156"/>
                <a:gd name="T52" fmla="*/ 112 w 1984"/>
                <a:gd name="T53" fmla="*/ 546 h 1156"/>
                <a:gd name="T54" fmla="*/ 19 w 1984"/>
                <a:gd name="T55" fmla="*/ 419 h 1156"/>
                <a:gd name="T56" fmla="*/ 0 w 1984"/>
                <a:gd name="T57" fmla="*/ 335 h 1156"/>
                <a:gd name="T58" fmla="*/ 39 w 1984"/>
                <a:gd name="T59" fmla="*/ 286 h 1156"/>
                <a:gd name="T60" fmla="*/ 80 w 1984"/>
                <a:gd name="T61" fmla="*/ 361 h 1156"/>
                <a:gd name="T62" fmla="*/ 120 w 1984"/>
                <a:gd name="T63" fmla="*/ 325 h 1156"/>
                <a:gd name="T64" fmla="*/ 287 w 1984"/>
                <a:gd name="T65" fmla="*/ 248 h 1156"/>
                <a:gd name="T66" fmla="*/ 354 w 1984"/>
                <a:gd name="T67" fmla="*/ 238 h 1156"/>
                <a:gd name="T68" fmla="*/ 513 w 1984"/>
                <a:gd name="T69" fmla="*/ 118 h 1156"/>
                <a:gd name="T70" fmla="*/ 615 w 1984"/>
                <a:gd name="T71" fmla="*/ 90 h 1156"/>
                <a:gd name="T72" fmla="*/ 592 w 1984"/>
                <a:gd name="T73" fmla="*/ 16 h 1156"/>
                <a:gd name="T74" fmla="*/ 667 w 1984"/>
                <a:gd name="T75" fmla="*/ 6 h 1156"/>
                <a:gd name="T76" fmla="*/ 793 w 1984"/>
                <a:gd name="T77" fmla="*/ 98 h 1156"/>
                <a:gd name="T78" fmla="*/ 836 w 1984"/>
                <a:gd name="T79" fmla="*/ 71 h 1156"/>
                <a:gd name="T80" fmla="*/ 868 w 1984"/>
                <a:gd name="T81" fmla="*/ 0 h 1156"/>
                <a:gd name="T82" fmla="*/ 935 w 1984"/>
                <a:gd name="T83" fmla="*/ 12 h 1156"/>
                <a:gd name="T84" fmla="*/ 967 w 1984"/>
                <a:gd name="T85" fmla="*/ 172 h 1156"/>
                <a:gd name="T86" fmla="*/ 1007 w 1984"/>
                <a:gd name="T87" fmla="*/ 179 h 1156"/>
                <a:gd name="T88" fmla="*/ 1077 w 1984"/>
                <a:gd name="T89" fmla="*/ 148 h 1156"/>
                <a:gd name="T90" fmla="*/ 1154 w 1984"/>
                <a:gd name="T91" fmla="*/ 223 h 1156"/>
                <a:gd name="T92" fmla="*/ 1278 w 1984"/>
                <a:gd name="T93" fmla="*/ 199 h 1156"/>
                <a:gd name="T94" fmla="*/ 1252 w 1984"/>
                <a:gd name="T95" fmla="*/ 302 h 1156"/>
                <a:gd name="T96" fmla="*/ 1351 w 1984"/>
                <a:gd name="T97" fmla="*/ 402 h 1156"/>
                <a:gd name="T98" fmla="*/ 1421 w 1984"/>
                <a:gd name="T99" fmla="*/ 384 h 1156"/>
                <a:gd name="T100" fmla="*/ 1381 w 1984"/>
                <a:gd name="T101" fmla="*/ 301 h 1156"/>
                <a:gd name="T102" fmla="*/ 1420 w 1984"/>
                <a:gd name="T103" fmla="*/ 256 h 1156"/>
                <a:gd name="T104" fmla="*/ 1511 w 1984"/>
                <a:gd name="T105" fmla="*/ 325 h 1156"/>
                <a:gd name="T106" fmla="*/ 1648 w 1984"/>
                <a:gd name="T107" fmla="*/ 320 h 1156"/>
                <a:gd name="T108" fmla="*/ 1688 w 1984"/>
                <a:gd name="T109" fmla="*/ 311 h 1156"/>
                <a:gd name="T110" fmla="*/ 1720 w 1984"/>
                <a:gd name="T111" fmla="*/ 470 h 1156"/>
                <a:gd name="T112" fmla="*/ 1782 w 1984"/>
                <a:gd name="T113" fmla="*/ 442 h 1156"/>
                <a:gd name="T114" fmla="*/ 1912 w 1984"/>
                <a:gd name="T115" fmla="*/ 535 h 1156"/>
                <a:gd name="T116" fmla="*/ 1913 w 1984"/>
                <a:gd name="T117" fmla="*/ 623 h 1156"/>
                <a:gd name="T118" fmla="*/ 1980 w 1984"/>
                <a:gd name="T119" fmla="*/ 657 h 1156"/>
                <a:gd name="T120" fmla="*/ 1984 w 1984"/>
                <a:gd name="T121" fmla="*/ 675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84" h="1156">
                  <a:moveTo>
                    <a:pt x="1984" y="675"/>
                  </a:moveTo>
                  <a:lnTo>
                    <a:pt x="1963" y="702"/>
                  </a:lnTo>
                  <a:lnTo>
                    <a:pt x="1834" y="730"/>
                  </a:lnTo>
                  <a:lnTo>
                    <a:pt x="1777" y="823"/>
                  </a:lnTo>
                  <a:lnTo>
                    <a:pt x="1667" y="900"/>
                  </a:lnTo>
                  <a:lnTo>
                    <a:pt x="1609" y="936"/>
                  </a:lnTo>
                  <a:lnTo>
                    <a:pt x="1472" y="933"/>
                  </a:lnTo>
                  <a:lnTo>
                    <a:pt x="1419" y="1022"/>
                  </a:lnTo>
                  <a:lnTo>
                    <a:pt x="1317" y="1018"/>
                  </a:lnTo>
                  <a:lnTo>
                    <a:pt x="1232" y="1023"/>
                  </a:lnTo>
                  <a:lnTo>
                    <a:pt x="1089" y="967"/>
                  </a:lnTo>
                  <a:lnTo>
                    <a:pt x="975" y="986"/>
                  </a:lnTo>
                  <a:lnTo>
                    <a:pt x="911" y="933"/>
                  </a:lnTo>
                  <a:lnTo>
                    <a:pt x="854" y="938"/>
                  </a:lnTo>
                  <a:lnTo>
                    <a:pt x="877" y="1048"/>
                  </a:lnTo>
                  <a:lnTo>
                    <a:pt x="757" y="1076"/>
                  </a:lnTo>
                  <a:lnTo>
                    <a:pt x="757" y="1133"/>
                  </a:lnTo>
                  <a:lnTo>
                    <a:pt x="696" y="1156"/>
                  </a:lnTo>
                  <a:lnTo>
                    <a:pt x="656" y="1125"/>
                  </a:lnTo>
                  <a:lnTo>
                    <a:pt x="571" y="1118"/>
                  </a:lnTo>
                  <a:lnTo>
                    <a:pt x="509" y="1087"/>
                  </a:lnTo>
                  <a:lnTo>
                    <a:pt x="485" y="1043"/>
                  </a:lnTo>
                  <a:lnTo>
                    <a:pt x="378" y="965"/>
                  </a:lnTo>
                  <a:lnTo>
                    <a:pt x="355" y="876"/>
                  </a:lnTo>
                  <a:lnTo>
                    <a:pt x="248" y="816"/>
                  </a:lnTo>
                  <a:lnTo>
                    <a:pt x="132" y="692"/>
                  </a:lnTo>
                  <a:lnTo>
                    <a:pt x="112" y="546"/>
                  </a:lnTo>
                  <a:lnTo>
                    <a:pt x="19" y="419"/>
                  </a:lnTo>
                  <a:lnTo>
                    <a:pt x="0" y="335"/>
                  </a:lnTo>
                  <a:lnTo>
                    <a:pt x="39" y="286"/>
                  </a:lnTo>
                  <a:lnTo>
                    <a:pt x="80" y="361"/>
                  </a:lnTo>
                  <a:lnTo>
                    <a:pt x="120" y="325"/>
                  </a:lnTo>
                  <a:lnTo>
                    <a:pt x="287" y="248"/>
                  </a:lnTo>
                  <a:lnTo>
                    <a:pt x="354" y="238"/>
                  </a:lnTo>
                  <a:lnTo>
                    <a:pt x="513" y="118"/>
                  </a:lnTo>
                  <a:lnTo>
                    <a:pt x="615" y="90"/>
                  </a:lnTo>
                  <a:lnTo>
                    <a:pt x="592" y="16"/>
                  </a:lnTo>
                  <a:lnTo>
                    <a:pt x="667" y="6"/>
                  </a:lnTo>
                  <a:lnTo>
                    <a:pt x="793" y="98"/>
                  </a:lnTo>
                  <a:lnTo>
                    <a:pt x="836" y="71"/>
                  </a:lnTo>
                  <a:lnTo>
                    <a:pt x="868" y="0"/>
                  </a:lnTo>
                  <a:lnTo>
                    <a:pt x="935" y="12"/>
                  </a:lnTo>
                  <a:lnTo>
                    <a:pt x="967" y="172"/>
                  </a:lnTo>
                  <a:lnTo>
                    <a:pt x="1007" y="179"/>
                  </a:lnTo>
                  <a:lnTo>
                    <a:pt x="1077" y="148"/>
                  </a:lnTo>
                  <a:lnTo>
                    <a:pt x="1154" y="223"/>
                  </a:lnTo>
                  <a:lnTo>
                    <a:pt x="1278" y="199"/>
                  </a:lnTo>
                  <a:lnTo>
                    <a:pt x="1252" y="302"/>
                  </a:lnTo>
                  <a:lnTo>
                    <a:pt x="1351" y="402"/>
                  </a:lnTo>
                  <a:lnTo>
                    <a:pt x="1421" y="384"/>
                  </a:lnTo>
                  <a:lnTo>
                    <a:pt x="1381" y="301"/>
                  </a:lnTo>
                  <a:lnTo>
                    <a:pt x="1420" y="256"/>
                  </a:lnTo>
                  <a:lnTo>
                    <a:pt x="1511" y="325"/>
                  </a:lnTo>
                  <a:lnTo>
                    <a:pt x="1648" y="320"/>
                  </a:lnTo>
                  <a:lnTo>
                    <a:pt x="1688" y="311"/>
                  </a:lnTo>
                  <a:lnTo>
                    <a:pt x="1720" y="470"/>
                  </a:lnTo>
                  <a:lnTo>
                    <a:pt x="1782" y="442"/>
                  </a:lnTo>
                  <a:lnTo>
                    <a:pt x="1912" y="535"/>
                  </a:lnTo>
                  <a:lnTo>
                    <a:pt x="1913" y="623"/>
                  </a:lnTo>
                  <a:lnTo>
                    <a:pt x="1980" y="657"/>
                  </a:lnTo>
                  <a:lnTo>
                    <a:pt x="1984" y="675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5" name="Freeform 312">
              <a:extLst>
                <a:ext uri="{FF2B5EF4-FFF2-40B4-BE49-F238E27FC236}">
                  <a16:creationId xmlns:a16="http://schemas.microsoft.com/office/drawing/2014/main" id="{82AA068D-366F-4E03-B67A-E4376DE15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6738" y="4368800"/>
              <a:ext cx="528638" cy="273050"/>
            </a:xfrm>
            <a:custGeom>
              <a:avLst/>
              <a:gdLst>
                <a:gd name="T0" fmla="*/ 1591 w 1664"/>
                <a:gd name="T1" fmla="*/ 418 h 857"/>
                <a:gd name="T2" fmla="*/ 1614 w 1664"/>
                <a:gd name="T3" fmla="*/ 550 h 857"/>
                <a:gd name="T4" fmla="*/ 1534 w 1664"/>
                <a:gd name="T5" fmla="*/ 577 h 857"/>
                <a:gd name="T6" fmla="*/ 1422 w 1664"/>
                <a:gd name="T7" fmla="*/ 520 h 857"/>
                <a:gd name="T8" fmla="*/ 1297 w 1664"/>
                <a:gd name="T9" fmla="*/ 530 h 857"/>
                <a:gd name="T10" fmla="*/ 1191 w 1664"/>
                <a:gd name="T11" fmla="*/ 466 h 857"/>
                <a:gd name="T12" fmla="*/ 1156 w 1664"/>
                <a:gd name="T13" fmla="*/ 524 h 857"/>
                <a:gd name="T14" fmla="*/ 1071 w 1664"/>
                <a:gd name="T15" fmla="*/ 555 h 857"/>
                <a:gd name="T16" fmla="*/ 1019 w 1664"/>
                <a:gd name="T17" fmla="*/ 689 h 857"/>
                <a:gd name="T18" fmla="*/ 885 w 1664"/>
                <a:gd name="T19" fmla="*/ 654 h 857"/>
                <a:gd name="T20" fmla="*/ 762 w 1664"/>
                <a:gd name="T21" fmla="*/ 651 h 857"/>
                <a:gd name="T22" fmla="*/ 624 w 1664"/>
                <a:gd name="T23" fmla="*/ 753 h 857"/>
                <a:gd name="T24" fmla="*/ 558 w 1664"/>
                <a:gd name="T25" fmla="*/ 768 h 857"/>
                <a:gd name="T26" fmla="*/ 559 w 1664"/>
                <a:gd name="T27" fmla="*/ 817 h 857"/>
                <a:gd name="T28" fmla="*/ 510 w 1664"/>
                <a:gd name="T29" fmla="*/ 857 h 857"/>
                <a:gd name="T30" fmla="*/ 288 w 1664"/>
                <a:gd name="T31" fmla="*/ 846 h 857"/>
                <a:gd name="T32" fmla="*/ 251 w 1664"/>
                <a:gd name="T33" fmla="*/ 805 h 857"/>
                <a:gd name="T34" fmla="*/ 122 w 1664"/>
                <a:gd name="T35" fmla="*/ 728 h 857"/>
                <a:gd name="T36" fmla="*/ 68 w 1664"/>
                <a:gd name="T37" fmla="*/ 710 h 857"/>
                <a:gd name="T38" fmla="*/ 28 w 1664"/>
                <a:gd name="T39" fmla="*/ 666 h 857"/>
                <a:gd name="T40" fmla="*/ 0 w 1664"/>
                <a:gd name="T41" fmla="*/ 485 h 857"/>
                <a:gd name="T42" fmla="*/ 17 w 1664"/>
                <a:gd name="T43" fmla="*/ 388 h 857"/>
                <a:gd name="T44" fmla="*/ 70 w 1664"/>
                <a:gd name="T45" fmla="*/ 299 h 857"/>
                <a:gd name="T46" fmla="*/ 207 w 1664"/>
                <a:gd name="T47" fmla="*/ 302 h 857"/>
                <a:gd name="T48" fmla="*/ 265 w 1664"/>
                <a:gd name="T49" fmla="*/ 266 h 857"/>
                <a:gd name="T50" fmla="*/ 375 w 1664"/>
                <a:gd name="T51" fmla="*/ 189 h 857"/>
                <a:gd name="T52" fmla="*/ 432 w 1664"/>
                <a:gd name="T53" fmla="*/ 96 h 857"/>
                <a:gd name="T54" fmla="*/ 561 w 1664"/>
                <a:gd name="T55" fmla="*/ 68 h 857"/>
                <a:gd name="T56" fmla="*/ 582 w 1664"/>
                <a:gd name="T57" fmla="*/ 41 h 857"/>
                <a:gd name="T58" fmla="*/ 686 w 1664"/>
                <a:gd name="T59" fmla="*/ 129 h 857"/>
                <a:gd name="T60" fmla="*/ 778 w 1664"/>
                <a:gd name="T61" fmla="*/ 22 h 857"/>
                <a:gd name="T62" fmla="*/ 817 w 1664"/>
                <a:gd name="T63" fmla="*/ 0 h 857"/>
                <a:gd name="T64" fmla="*/ 872 w 1664"/>
                <a:gd name="T65" fmla="*/ 106 h 857"/>
                <a:gd name="T66" fmla="*/ 934 w 1664"/>
                <a:gd name="T67" fmla="*/ 167 h 857"/>
                <a:gd name="T68" fmla="*/ 1107 w 1664"/>
                <a:gd name="T69" fmla="*/ 90 h 857"/>
                <a:gd name="T70" fmla="*/ 1245 w 1664"/>
                <a:gd name="T71" fmla="*/ 137 h 857"/>
                <a:gd name="T72" fmla="*/ 1316 w 1664"/>
                <a:gd name="T73" fmla="*/ 75 h 857"/>
                <a:gd name="T74" fmla="*/ 1494 w 1664"/>
                <a:gd name="T75" fmla="*/ 65 h 857"/>
                <a:gd name="T76" fmla="*/ 1562 w 1664"/>
                <a:gd name="T77" fmla="*/ 153 h 857"/>
                <a:gd name="T78" fmla="*/ 1664 w 1664"/>
                <a:gd name="T79" fmla="*/ 217 h 857"/>
                <a:gd name="T80" fmla="*/ 1591 w 1664"/>
                <a:gd name="T81" fmla="*/ 418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64" h="857">
                  <a:moveTo>
                    <a:pt x="1591" y="418"/>
                  </a:moveTo>
                  <a:lnTo>
                    <a:pt x="1614" y="550"/>
                  </a:lnTo>
                  <a:lnTo>
                    <a:pt x="1534" y="577"/>
                  </a:lnTo>
                  <a:lnTo>
                    <a:pt x="1422" y="520"/>
                  </a:lnTo>
                  <a:lnTo>
                    <a:pt x="1297" y="530"/>
                  </a:lnTo>
                  <a:lnTo>
                    <a:pt x="1191" y="466"/>
                  </a:lnTo>
                  <a:lnTo>
                    <a:pt x="1156" y="524"/>
                  </a:lnTo>
                  <a:lnTo>
                    <a:pt x="1071" y="555"/>
                  </a:lnTo>
                  <a:lnTo>
                    <a:pt x="1019" y="689"/>
                  </a:lnTo>
                  <a:lnTo>
                    <a:pt x="885" y="654"/>
                  </a:lnTo>
                  <a:lnTo>
                    <a:pt x="762" y="651"/>
                  </a:lnTo>
                  <a:lnTo>
                    <a:pt x="624" y="753"/>
                  </a:lnTo>
                  <a:lnTo>
                    <a:pt x="558" y="768"/>
                  </a:lnTo>
                  <a:lnTo>
                    <a:pt x="559" y="817"/>
                  </a:lnTo>
                  <a:lnTo>
                    <a:pt x="510" y="857"/>
                  </a:lnTo>
                  <a:lnTo>
                    <a:pt x="288" y="846"/>
                  </a:lnTo>
                  <a:lnTo>
                    <a:pt x="251" y="805"/>
                  </a:lnTo>
                  <a:lnTo>
                    <a:pt x="122" y="728"/>
                  </a:lnTo>
                  <a:lnTo>
                    <a:pt x="68" y="710"/>
                  </a:lnTo>
                  <a:lnTo>
                    <a:pt x="28" y="666"/>
                  </a:lnTo>
                  <a:lnTo>
                    <a:pt x="0" y="485"/>
                  </a:lnTo>
                  <a:lnTo>
                    <a:pt x="17" y="388"/>
                  </a:lnTo>
                  <a:lnTo>
                    <a:pt x="70" y="299"/>
                  </a:lnTo>
                  <a:lnTo>
                    <a:pt x="207" y="302"/>
                  </a:lnTo>
                  <a:lnTo>
                    <a:pt x="265" y="266"/>
                  </a:lnTo>
                  <a:lnTo>
                    <a:pt x="375" y="189"/>
                  </a:lnTo>
                  <a:lnTo>
                    <a:pt x="432" y="96"/>
                  </a:lnTo>
                  <a:lnTo>
                    <a:pt x="561" y="68"/>
                  </a:lnTo>
                  <a:lnTo>
                    <a:pt x="582" y="41"/>
                  </a:lnTo>
                  <a:lnTo>
                    <a:pt x="686" y="129"/>
                  </a:lnTo>
                  <a:lnTo>
                    <a:pt x="778" y="22"/>
                  </a:lnTo>
                  <a:lnTo>
                    <a:pt x="817" y="0"/>
                  </a:lnTo>
                  <a:lnTo>
                    <a:pt x="872" y="106"/>
                  </a:lnTo>
                  <a:lnTo>
                    <a:pt x="934" y="167"/>
                  </a:lnTo>
                  <a:lnTo>
                    <a:pt x="1107" y="90"/>
                  </a:lnTo>
                  <a:lnTo>
                    <a:pt x="1245" y="137"/>
                  </a:lnTo>
                  <a:lnTo>
                    <a:pt x="1316" y="75"/>
                  </a:lnTo>
                  <a:lnTo>
                    <a:pt x="1494" y="65"/>
                  </a:lnTo>
                  <a:lnTo>
                    <a:pt x="1562" y="153"/>
                  </a:lnTo>
                  <a:lnTo>
                    <a:pt x="1664" y="217"/>
                  </a:lnTo>
                  <a:lnTo>
                    <a:pt x="1591" y="418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6" name="Freeform 313">
              <a:extLst>
                <a:ext uri="{FF2B5EF4-FFF2-40B4-BE49-F238E27FC236}">
                  <a16:creationId xmlns:a16="http://schemas.microsoft.com/office/drawing/2014/main" id="{CE13D9B7-F396-4180-988F-84C7604B3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713" y="4518025"/>
              <a:ext cx="644525" cy="393700"/>
            </a:xfrm>
            <a:custGeom>
              <a:avLst/>
              <a:gdLst>
                <a:gd name="T0" fmla="*/ 1985 w 2028"/>
                <a:gd name="T1" fmla="*/ 308 h 1241"/>
                <a:gd name="T2" fmla="*/ 1964 w 2028"/>
                <a:gd name="T3" fmla="*/ 239 h 1241"/>
                <a:gd name="T4" fmla="*/ 1914 w 2028"/>
                <a:gd name="T5" fmla="*/ 223 h 1241"/>
                <a:gd name="T6" fmla="*/ 1890 w 2028"/>
                <a:gd name="T7" fmla="*/ 130 h 1241"/>
                <a:gd name="T8" fmla="*/ 1842 w 2028"/>
                <a:gd name="T9" fmla="*/ 84 h 1241"/>
                <a:gd name="T10" fmla="*/ 1762 w 2028"/>
                <a:gd name="T11" fmla="*/ 111 h 1241"/>
                <a:gd name="T12" fmla="*/ 1650 w 2028"/>
                <a:gd name="T13" fmla="*/ 54 h 1241"/>
                <a:gd name="T14" fmla="*/ 1525 w 2028"/>
                <a:gd name="T15" fmla="*/ 64 h 1241"/>
                <a:gd name="T16" fmla="*/ 1419 w 2028"/>
                <a:gd name="T17" fmla="*/ 0 h 1241"/>
                <a:gd name="T18" fmla="*/ 1384 w 2028"/>
                <a:gd name="T19" fmla="*/ 58 h 1241"/>
                <a:gd name="T20" fmla="*/ 1299 w 2028"/>
                <a:gd name="T21" fmla="*/ 89 h 1241"/>
                <a:gd name="T22" fmla="*/ 1247 w 2028"/>
                <a:gd name="T23" fmla="*/ 223 h 1241"/>
                <a:gd name="T24" fmla="*/ 1113 w 2028"/>
                <a:gd name="T25" fmla="*/ 188 h 1241"/>
                <a:gd name="T26" fmla="*/ 990 w 2028"/>
                <a:gd name="T27" fmla="*/ 185 h 1241"/>
                <a:gd name="T28" fmla="*/ 852 w 2028"/>
                <a:gd name="T29" fmla="*/ 287 h 1241"/>
                <a:gd name="T30" fmla="*/ 786 w 2028"/>
                <a:gd name="T31" fmla="*/ 302 h 1241"/>
                <a:gd name="T32" fmla="*/ 787 w 2028"/>
                <a:gd name="T33" fmla="*/ 351 h 1241"/>
                <a:gd name="T34" fmla="*/ 738 w 2028"/>
                <a:gd name="T35" fmla="*/ 391 h 1241"/>
                <a:gd name="T36" fmla="*/ 516 w 2028"/>
                <a:gd name="T37" fmla="*/ 380 h 1241"/>
                <a:gd name="T38" fmla="*/ 479 w 2028"/>
                <a:gd name="T39" fmla="*/ 339 h 1241"/>
                <a:gd name="T40" fmla="*/ 350 w 2028"/>
                <a:gd name="T41" fmla="*/ 262 h 1241"/>
                <a:gd name="T42" fmla="*/ 296 w 2028"/>
                <a:gd name="T43" fmla="*/ 244 h 1241"/>
                <a:gd name="T44" fmla="*/ 311 w 2028"/>
                <a:gd name="T45" fmla="*/ 328 h 1241"/>
                <a:gd name="T46" fmla="*/ 257 w 2028"/>
                <a:gd name="T47" fmla="*/ 315 h 1241"/>
                <a:gd name="T48" fmla="*/ 224 w 2028"/>
                <a:gd name="T49" fmla="*/ 334 h 1241"/>
                <a:gd name="T50" fmla="*/ 230 w 2028"/>
                <a:gd name="T51" fmla="*/ 361 h 1241"/>
                <a:gd name="T52" fmla="*/ 215 w 2028"/>
                <a:gd name="T53" fmla="*/ 396 h 1241"/>
                <a:gd name="T54" fmla="*/ 198 w 2028"/>
                <a:gd name="T55" fmla="*/ 413 h 1241"/>
                <a:gd name="T56" fmla="*/ 177 w 2028"/>
                <a:gd name="T57" fmla="*/ 361 h 1241"/>
                <a:gd name="T58" fmla="*/ 144 w 2028"/>
                <a:gd name="T59" fmla="*/ 590 h 1241"/>
                <a:gd name="T60" fmla="*/ 8 w 2028"/>
                <a:gd name="T61" fmla="*/ 746 h 1241"/>
                <a:gd name="T62" fmla="*/ 0 w 2028"/>
                <a:gd name="T63" fmla="*/ 849 h 1241"/>
                <a:gd name="T64" fmla="*/ 36 w 2028"/>
                <a:gd name="T65" fmla="*/ 813 h 1241"/>
                <a:gd name="T66" fmla="*/ 87 w 2028"/>
                <a:gd name="T67" fmla="*/ 850 h 1241"/>
                <a:gd name="T68" fmla="*/ 149 w 2028"/>
                <a:gd name="T69" fmla="*/ 929 h 1241"/>
                <a:gd name="T70" fmla="*/ 214 w 2028"/>
                <a:gd name="T71" fmla="*/ 961 h 1241"/>
                <a:gd name="T72" fmla="*/ 301 w 2028"/>
                <a:gd name="T73" fmla="*/ 991 h 1241"/>
                <a:gd name="T74" fmla="*/ 372 w 2028"/>
                <a:gd name="T75" fmla="*/ 1066 h 1241"/>
                <a:gd name="T76" fmla="*/ 551 w 2028"/>
                <a:gd name="T77" fmla="*/ 1241 h 1241"/>
                <a:gd name="T78" fmla="*/ 720 w 2028"/>
                <a:gd name="T79" fmla="*/ 1216 h 1241"/>
                <a:gd name="T80" fmla="*/ 860 w 2028"/>
                <a:gd name="T81" fmla="*/ 1205 h 1241"/>
                <a:gd name="T82" fmla="*/ 949 w 2028"/>
                <a:gd name="T83" fmla="*/ 1151 h 1241"/>
                <a:gd name="T84" fmla="*/ 1045 w 2028"/>
                <a:gd name="T85" fmla="*/ 1064 h 1241"/>
                <a:gd name="T86" fmla="*/ 1129 w 2028"/>
                <a:gd name="T87" fmla="*/ 1063 h 1241"/>
                <a:gd name="T88" fmla="*/ 1206 w 2028"/>
                <a:gd name="T89" fmla="*/ 1086 h 1241"/>
                <a:gd name="T90" fmla="*/ 1283 w 2028"/>
                <a:gd name="T91" fmla="*/ 1105 h 1241"/>
                <a:gd name="T92" fmla="*/ 1412 w 2028"/>
                <a:gd name="T93" fmla="*/ 1040 h 1241"/>
                <a:gd name="T94" fmla="*/ 1511 w 2028"/>
                <a:gd name="T95" fmla="*/ 1026 h 1241"/>
                <a:gd name="T96" fmla="*/ 1587 w 2028"/>
                <a:gd name="T97" fmla="*/ 939 h 1241"/>
                <a:gd name="T98" fmla="*/ 1661 w 2028"/>
                <a:gd name="T99" fmla="*/ 729 h 1241"/>
                <a:gd name="T100" fmla="*/ 1813 w 2028"/>
                <a:gd name="T101" fmla="*/ 536 h 1241"/>
                <a:gd name="T102" fmla="*/ 1956 w 2028"/>
                <a:gd name="T103" fmla="*/ 395 h 1241"/>
                <a:gd name="T104" fmla="*/ 2002 w 2028"/>
                <a:gd name="T105" fmla="*/ 397 h 1241"/>
                <a:gd name="T106" fmla="*/ 2028 w 2028"/>
                <a:gd name="T107" fmla="*/ 335 h 1241"/>
                <a:gd name="T108" fmla="*/ 1985 w 2028"/>
                <a:gd name="T109" fmla="*/ 308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8" h="1241">
                  <a:moveTo>
                    <a:pt x="1985" y="308"/>
                  </a:moveTo>
                  <a:lnTo>
                    <a:pt x="1964" y="239"/>
                  </a:lnTo>
                  <a:lnTo>
                    <a:pt x="1914" y="223"/>
                  </a:lnTo>
                  <a:lnTo>
                    <a:pt x="1890" y="130"/>
                  </a:lnTo>
                  <a:lnTo>
                    <a:pt x="1842" y="84"/>
                  </a:lnTo>
                  <a:lnTo>
                    <a:pt x="1762" y="111"/>
                  </a:lnTo>
                  <a:lnTo>
                    <a:pt x="1650" y="54"/>
                  </a:lnTo>
                  <a:lnTo>
                    <a:pt x="1525" y="64"/>
                  </a:lnTo>
                  <a:lnTo>
                    <a:pt x="1419" y="0"/>
                  </a:lnTo>
                  <a:lnTo>
                    <a:pt x="1384" y="58"/>
                  </a:lnTo>
                  <a:lnTo>
                    <a:pt x="1299" y="89"/>
                  </a:lnTo>
                  <a:lnTo>
                    <a:pt x="1247" y="223"/>
                  </a:lnTo>
                  <a:lnTo>
                    <a:pt x="1113" y="188"/>
                  </a:lnTo>
                  <a:lnTo>
                    <a:pt x="990" y="185"/>
                  </a:lnTo>
                  <a:lnTo>
                    <a:pt x="852" y="287"/>
                  </a:lnTo>
                  <a:lnTo>
                    <a:pt x="786" y="302"/>
                  </a:lnTo>
                  <a:lnTo>
                    <a:pt x="787" y="351"/>
                  </a:lnTo>
                  <a:lnTo>
                    <a:pt x="738" y="391"/>
                  </a:lnTo>
                  <a:lnTo>
                    <a:pt x="516" y="380"/>
                  </a:lnTo>
                  <a:lnTo>
                    <a:pt x="479" y="339"/>
                  </a:lnTo>
                  <a:lnTo>
                    <a:pt x="350" y="262"/>
                  </a:lnTo>
                  <a:lnTo>
                    <a:pt x="296" y="244"/>
                  </a:lnTo>
                  <a:lnTo>
                    <a:pt x="311" y="328"/>
                  </a:lnTo>
                  <a:lnTo>
                    <a:pt x="257" y="315"/>
                  </a:lnTo>
                  <a:lnTo>
                    <a:pt x="224" y="334"/>
                  </a:lnTo>
                  <a:lnTo>
                    <a:pt x="230" y="361"/>
                  </a:lnTo>
                  <a:lnTo>
                    <a:pt x="215" y="396"/>
                  </a:lnTo>
                  <a:lnTo>
                    <a:pt x="198" y="413"/>
                  </a:lnTo>
                  <a:lnTo>
                    <a:pt x="177" y="361"/>
                  </a:lnTo>
                  <a:lnTo>
                    <a:pt x="144" y="590"/>
                  </a:lnTo>
                  <a:lnTo>
                    <a:pt x="8" y="746"/>
                  </a:lnTo>
                  <a:lnTo>
                    <a:pt x="0" y="849"/>
                  </a:lnTo>
                  <a:lnTo>
                    <a:pt x="36" y="813"/>
                  </a:lnTo>
                  <a:lnTo>
                    <a:pt x="87" y="850"/>
                  </a:lnTo>
                  <a:lnTo>
                    <a:pt x="149" y="929"/>
                  </a:lnTo>
                  <a:lnTo>
                    <a:pt x="214" y="961"/>
                  </a:lnTo>
                  <a:lnTo>
                    <a:pt x="301" y="991"/>
                  </a:lnTo>
                  <a:lnTo>
                    <a:pt x="372" y="1066"/>
                  </a:lnTo>
                  <a:lnTo>
                    <a:pt x="551" y="1241"/>
                  </a:lnTo>
                  <a:lnTo>
                    <a:pt x="720" y="1216"/>
                  </a:lnTo>
                  <a:lnTo>
                    <a:pt x="860" y="1205"/>
                  </a:lnTo>
                  <a:lnTo>
                    <a:pt x="949" y="1151"/>
                  </a:lnTo>
                  <a:lnTo>
                    <a:pt x="1045" y="1064"/>
                  </a:lnTo>
                  <a:lnTo>
                    <a:pt x="1129" y="1063"/>
                  </a:lnTo>
                  <a:lnTo>
                    <a:pt x="1206" y="1086"/>
                  </a:lnTo>
                  <a:lnTo>
                    <a:pt x="1283" y="1105"/>
                  </a:lnTo>
                  <a:lnTo>
                    <a:pt x="1412" y="1040"/>
                  </a:lnTo>
                  <a:lnTo>
                    <a:pt x="1511" y="1026"/>
                  </a:lnTo>
                  <a:lnTo>
                    <a:pt x="1587" y="939"/>
                  </a:lnTo>
                  <a:lnTo>
                    <a:pt x="1661" y="729"/>
                  </a:lnTo>
                  <a:lnTo>
                    <a:pt x="1813" y="536"/>
                  </a:lnTo>
                  <a:lnTo>
                    <a:pt x="1956" y="395"/>
                  </a:lnTo>
                  <a:lnTo>
                    <a:pt x="2002" y="397"/>
                  </a:lnTo>
                  <a:lnTo>
                    <a:pt x="2028" y="335"/>
                  </a:lnTo>
                  <a:lnTo>
                    <a:pt x="1985" y="308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7" name="Freeform 314">
              <a:extLst>
                <a:ext uri="{FF2B5EF4-FFF2-40B4-BE49-F238E27FC236}">
                  <a16:creationId xmlns:a16="http://schemas.microsoft.com/office/drawing/2014/main" id="{8994CC6F-9174-4BCC-9EA8-A91B2F592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4475" y="4775200"/>
              <a:ext cx="296863" cy="190500"/>
            </a:xfrm>
            <a:custGeom>
              <a:avLst/>
              <a:gdLst>
                <a:gd name="T0" fmla="*/ 938 w 938"/>
                <a:gd name="T1" fmla="*/ 116 h 599"/>
                <a:gd name="T2" fmla="*/ 874 w 938"/>
                <a:gd name="T3" fmla="*/ 124 h 599"/>
                <a:gd name="T4" fmla="*/ 848 w 938"/>
                <a:gd name="T5" fmla="*/ 194 h 599"/>
                <a:gd name="T6" fmla="*/ 786 w 938"/>
                <a:gd name="T7" fmla="*/ 182 h 599"/>
                <a:gd name="T8" fmla="*/ 760 w 938"/>
                <a:gd name="T9" fmla="*/ 253 h 599"/>
                <a:gd name="T10" fmla="*/ 662 w 938"/>
                <a:gd name="T11" fmla="*/ 271 h 599"/>
                <a:gd name="T12" fmla="*/ 703 w 938"/>
                <a:gd name="T13" fmla="*/ 381 h 599"/>
                <a:gd name="T14" fmla="*/ 651 w 938"/>
                <a:gd name="T15" fmla="*/ 452 h 599"/>
                <a:gd name="T16" fmla="*/ 597 w 938"/>
                <a:gd name="T17" fmla="*/ 471 h 599"/>
                <a:gd name="T18" fmla="*/ 594 w 938"/>
                <a:gd name="T19" fmla="*/ 541 h 599"/>
                <a:gd name="T20" fmla="*/ 612 w 938"/>
                <a:gd name="T21" fmla="*/ 577 h 599"/>
                <a:gd name="T22" fmla="*/ 590 w 938"/>
                <a:gd name="T23" fmla="*/ 599 h 599"/>
                <a:gd name="T24" fmla="*/ 536 w 938"/>
                <a:gd name="T25" fmla="*/ 582 h 599"/>
                <a:gd name="T26" fmla="*/ 438 w 938"/>
                <a:gd name="T27" fmla="*/ 578 h 599"/>
                <a:gd name="T28" fmla="*/ 371 w 938"/>
                <a:gd name="T29" fmla="*/ 530 h 599"/>
                <a:gd name="T30" fmla="*/ 337 w 938"/>
                <a:gd name="T31" fmla="*/ 588 h 599"/>
                <a:gd name="T32" fmla="*/ 185 w 938"/>
                <a:gd name="T33" fmla="*/ 598 h 599"/>
                <a:gd name="T34" fmla="*/ 136 w 938"/>
                <a:gd name="T35" fmla="*/ 577 h 599"/>
                <a:gd name="T36" fmla="*/ 80 w 938"/>
                <a:gd name="T37" fmla="*/ 568 h 599"/>
                <a:gd name="T38" fmla="*/ 97 w 938"/>
                <a:gd name="T39" fmla="*/ 528 h 599"/>
                <a:gd name="T40" fmla="*/ 84 w 938"/>
                <a:gd name="T41" fmla="*/ 506 h 599"/>
                <a:gd name="T42" fmla="*/ 113 w 938"/>
                <a:gd name="T43" fmla="*/ 510 h 599"/>
                <a:gd name="T44" fmla="*/ 126 w 938"/>
                <a:gd name="T45" fmla="*/ 476 h 599"/>
                <a:gd name="T46" fmla="*/ 108 w 938"/>
                <a:gd name="T47" fmla="*/ 440 h 599"/>
                <a:gd name="T48" fmla="*/ 28 w 938"/>
                <a:gd name="T49" fmla="*/ 401 h 599"/>
                <a:gd name="T50" fmla="*/ 64 w 938"/>
                <a:gd name="T51" fmla="*/ 348 h 599"/>
                <a:gd name="T52" fmla="*/ 58 w 938"/>
                <a:gd name="T53" fmla="*/ 316 h 599"/>
                <a:gd name="T54" fmla="*/ 0 w 938"/>
                <a:gd name="T55" fmla="*/ 255 h 599"/>
                <a:gd name="T56" fmla="*/ 66 w 938"/>
                <a:gd name="T57" fmla="*/ 130 h 599"/>
                <a:gd name="T58" fmla="*/ 337 w 938"/>
                <a:gd name="T59" fmla="*/ 182 h 599"/>
                <a:gd name="T60" fmla="*/ 487 w 938"/>
                <a:gd name="T61" fmla="*/ 65 h 599"/>
                <a:gd name="T62" fmla="*/ 590 w 938"/>
                <a:gd name="T63" fmla="*/ 64 h 599"/>
                <a:gd name="T64" fmla="*/ 664 w 938"/>
                <a:gd name="T65" fmla="*/ 37 h 599"/>
                <a:gd name="T66" fmla="*/ 749 w 938"/>
                <a:gd name="T67" fmla="*/ 76 h 599"/>
                <a:gd name="T68" fmla="*/ 789 w 938"/>
                <a:gd name="T69" fmla="*/ 36 h 599"/>
                <a:gd name="T70" fmla="*/ 825 w 938"/>
                <a:gd name="T71" fmla="*/ 0 h 599"/>
                <a:gd name="T72" fmla="*/ 876 w 938"/>
                <a:gd name="T73" fmla="*/ 37 h 599"/>
                <a:gd name="T74" fmla="*/ 938 w 938"/>
                <a:gd name="T75" fmla="*/ 116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38" h="599">
                  <a:moveTo>
                    <a:pt x="938" y="116"/>
                  </a:moveTo>
                  <a:lnTo>
                    <a:pt x="874" y="124"/>
                  </a:lnTo>
                  <a:lnTo>
                    <a:pt x="848" y="194"/>
                  </a:lnTo>
                  <a:lnTo>
                    <a:pt x="786" y="182"/>
                  </a:lnTo>
                  <a:lnTo>
                    <a:pt x="760" y="253"/>
                  </a:lnTo>
                  <a:lnTo>
                    <a:pt x="662" y="271"/>
                  </a:lnTo>
                  <a:lnTo>
                    <a:pt x="703" y="381"/>
                  </a:lnTo>
                  <a:lnTo>
                    <a:pt x="651" y="452"/>
                  </a:lnTo>
                  <a:lnTo>
                    <a:pt x="597" y="471"/>
                  </a:lnTo>
                  <a:lnTo>
                    <a:pt x="594" y="541"/>
                  </a:lnTo>
                  <a:lnTo>
                    <a:pt x="612" y="577"/>
                  </a:lnTo>
                  <a:lnTo>
                    <a:pt x="590" y="599"/>
                  </a:lnTo>
                  <a:lnTo>
                    <a:pt x="536" y="582"/>
                  </a:lnTo>
                  <a:lnTo>
                    <a:pt x="438" y="578"/>
                  </a:lnTo>
                  <a:lnTo>
                    <a:pt x="371" y="530"/>
                  </a:lnTo>
                  <a:lnTo>
                    <a:pt x="337" y="588"/>
                  </a:lnTo>
                  <a:lnTo>
                    <a:pt x="185" y="598"/>
                  </a:lnTo>
                  <a:lnTo>
                    <a:pt x="136" y="577"/>
                  </a:lnTo>
                  <a:lnTo>
                    <a:pt x="80" y="568"/>
                  </a:lnTo>
                  <a:lnTo>
                    <a:pt x="97" y="528"/>
                  </a:lnTo>
                  <a:lnTo>
                    <a:pt x="84" y="506"/>
                  </a:lnTo>
                  <a:lnTo>
                    <a:pt x="113" y="510"/>
                  </a:lnTo>
                  <a:lnTo>
                    <a:pt x="126" y="476"/>
                  </a:lnTo>
                  <a:lnTo>
                    <a:pt x="108" y="440"/>
                  </a:lnTo>
                  <a:lnTo>
                    <a:pt x="28" y="401"/>
                  </a:lnTo>
                  <a:lnTo>
                    <a:pt x="64" y="348"/>
                  </a:lnTo>
                  <a:lnTo>
                    <a:pt x="58" y="316"/>
                  </a:lnTo>
                  <a:lnTo>
                    <a:pt x="0" y="255"/>
                  </a:lnTo>
                  <a:lnTo>
                    <a:pt x="66" y="130"/>
                  </a:lnTo>
                  <a:lnTo>
                    <a:pt x="337" y="182"/>
                  </a:lnTo>
                  <a:lnTo>
                    <a:pt x="487" y="65"/>
                  </a:lnTo>
                  <a:lnTo>
                    <a:pt x="590" y="64"/>
                  </a:lnTo>
                  <a:lnTo>
                    <a:pt x="664" y="37"/>
                  </a:lnTo>
                  <a:lnTo>
                    <a:pt x="749" y="76"/>
                  </a:lnTo>
                  <a:lnTo>
                    <a:pt x="789" y="36"/>
                  </a:lnTo>
                  <a:lnTo>
                    <a:pt x="825" y="0"/>
                  </a:lnTo>
                  <a:lnTo>
                    <a:pt x="876" y="37"/>
                  </a:lnTo>
                  <a:lnTo>
                    <a:pt x="938" y="116"/>
                  </a:lnTo>
                  <a:close/>
                </a:path>
              </a:pathLst>
            </a:custGeom>
            <a:solidFill>
              <a:srgbClr val="1D2631">
                <a:lumMod val="75000"/>
                <a:lumOff val="25000"/>
              </a:srgb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8" name="Freeform 315">
              <a:extLst>
                <a:ext uri="{FF2B5EF4-FFF2-40B4-BE49-F238E27FC236}">
                  <a16:creationId xmlns:a16="http://schemas.microsoft.com/office/drawing/2014/main" id="{7723BAB1-1F02-400F-AFB7-300AC7F75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7175" y="4527550"/>
              <a:ext cx="312738" cy="377825"/>
            </a:xfrm>
            <a:custGeom>
              <a:avLst/>
              <a:gdLst>
                <a:gd name="T0" fmla="*/ 985 w 985"/>
                <a:gd name="T1" fmla="*/ 931 h 1193"/>
                <a:gd name="T2" fmla="*/ 941 w 985"/>
                <a:gd name="T3" fmla="*/ 953 h 1193"/>
                <a:gd name="T4" fmla="*/ 896 w 985"/>
                <a:gd name="T5" fmla="*/ 913 h 1193"/>
                <a:gd name="T6" fmla="*/ 848 w 985"/>
                <a:gd name="T7" fmla="*/ 928 h 1193"/>
                <a:gd name="T8" fmla="*/ 714 w 985"/>
                <a:gd name="T9" fmla="*/ 938 h 1193"/>
                <a:gd name="T10" fmla="*/ 674 w 985"/>
                <a:gd name="T11" fmla="*/ 911 h 1193"/>
                <a:gd name="T12" fmla="*/ 629 w 985"/>
                <a:gd name="T13" fmla="*/ 956 h 1193"/>
                <a:gd name="T14" fmla="*/ 605 w 985"/>
                <a:gd name="T15" fmla="*/ 1098 h 1193"/>
                <a:gd name="T16" fmla="*/ 511 w 985"/>
                <a:gd name="T17" fmla="*/ 1165 h 1193"/>
                <a:gd name="T18" fmla="*/ 414 w 985"/>
                <a:gd name="T19" fmla="*/ 1193 h 1193"/>
                <a:gd name="T20" fmla="*/ 391 w 985"/>
                <a:gd name="T21" fmla="*/ 1069 h 1193"/>
                <a:gd name="T22" fmla="*/ 407 w 985"/>
                <a:gd name="T23" fmla="*/ 785 h 1193"/>
                <a:gd name="T24" fmla="*/ 356 w 985"/>
                <a:gd name="T25" fmla="*/ 640 h 1193"/>
                <a:gd name="T26" fmla="*/ 162 w 985"/>
                <a:gd name="T27" fmla="*/ 390 h 1193"/>
                <a:gd name="T28" fmla="*/ 90 w 985"/>
                <a:gd name="T29" fmla="*/ 204 h 1193"/>
                <a:gd name="T30" fmla="*/ 0 w 985"/>
                <a:gd name="T31" fmla="*/ 112 h 1193"/>
                <a:gd name="T32" fmla="*/ 9 w 985"/>
                <a:gd name="T33" fmla="*/ 63 h 1193"/>
                <a:gd name="T34" fmla="*/ 168 w 985"/>
                <a:gd name="T35" fmla="*/ 0 h 1193"/>
                <a:gd name="T36" fmla="*/ 534 w 985"/>
                <a:gd name="T37" fmla="*/ 142 h 1193"/>
                <a:gd name="T38" fmla="*/ 654 w 985"/>
                <a:gd name="T39" fmla="*/ 159 h 1193"/>
                <a:gd name="T40" fmla="*/ 766 w 985"/>
                <a:gd name="T41" fmla="*/ 375 h 1193"/>
                <a:gd name="T42" fmla="*/ 750 w 985"/>
                <a:gd name="T43" fmla="*/ 477 h 1193"/>
                <a:gd name="T44" fmla="*/ 809 w 985"/>
                <a:gd name="T45" fmla="*/ 596 h 1193"/>
                <a:gd name="T46" fmla="*/ 858 w 985"/>
                <a:gd name="T47" fmla="*/ 600 h 1193"/>
                <a:gd name="T48" fmla="*/ 939 w 985"/>
                <a:gd name="T49" fmla="*/ 790 h 1193"/>
                <a:gd name="T50" fmla="*/ 927 w 985"/>
                <a:gd name="T51" fmla="*/ 855 h 1193"/>
                <a:gd name="T52" fmla="*/ 985 w 985"/>
                <a:gd name="T53" fmla="*/ 93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5" h="1193">
                  <a:moveTo>
                    <a:pt x="985" y="931"/>
                  </a:moveTo>
                  <a:lnTo>
                    <a:pt x="941" y="953"/>
                  </a:lnTo>
                  <a:lnTo>
                    <a:pt x="896" y="913"/>
                  </a:lnTo>
                  <a:lnTo>
                    <a:pt x="848" y="928"/>
                  </a:lnTo>
                  <a:lnTo>
                    <a:pt x="714" y="938"/>
                  </a:lnTo>
                  <a:lnTo>
                    <a:pt x="674" y="911"/>
                  </a:lnTo>
                  <a:lnTo>
                    <a:pt x="629" y="956"/>
                  </a:lnTo>
                  <a:lnTo>
                    <a:pt x="605" y="1098"/>
                  </a:lnTo>
                  <a:lnTo>
                    <a:pt x="511" y="1165"/>
                  </a:lnTo>
                  <a:lnTo>
                    <a:pt x="414" y="1193"/>
                  </a:lnTo>
                  <a:lnTo>
                    <a:pt x="391" y="1069"/>
                  </a:lnTo>
                  <a:lnTo>
                    <a:pt x="407" y="785"/>
                  </a:lnTo>
                  <a:lnTo>
                    <a:pt x="356" y="640"/>
                  </a:lnTo>
                  <a:lnTo>
                    <a:pt x="162" y="390"/>
                  </a:lnTo>
                  <a:lnTo>
                    <a:pt x="90" y="204"/>
                  </a:lnTo>
                  <a:lnTo>
                    <a:pt x="0" y="112"/>
                  </a:lnTo>
                  <a:lnTo>
                    <a:pt x="9" y="63"/>
                  </a:lnTo>
                  <a:lnTo>
                    <a:pt x="168" y="0"/>
                  </a:lnTo>
                  <a:lnTo>
                    <a:pt x="534" y="142"/>
                  </a:lnTo>
                  <a:lnTo>
                    <a:pt x="654" y="159"/>
                  </a:lnTo>
                  <a:lnTo>
                    <a:pt x="766" y="375"/>
                  </a:lnTo>
                  <a:lnTo>
                    <a:pt x="750" y="477"/>
                  </a:lnTo>
                  <a:lnTo>
                    <a:pt x="809" y="596"/>
                  </a:lnTo>
                  <a:lnTo>
                    <a:pt x="858" y="600"/>
                  </a:lnTo>
                  <a:lnTo>
                    <a:pt x="939" y="790"/>
                  </a:lnTo>
                  <a:lnTo>
                    <a:pt x="927" y="855"/>
                  </a:lnTo>
                  <a:lnTo>
                    <a:pt x="985" y="931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9" name="Freeform 316">
              <a:extLst>
                <a:ext uri="{FF2B5EF4-FFF2-40B4-BE49-F238E27FC236}">
                  <a16:creationId xmlns:a16="http://schemas.microsoft.com/office/drawing/2014/main" id="{F49FA7EE-9B9C-4B93-9996-25F92C978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013" y="5122863"/>
              <a:ext cx="593725" cy="387350"/>
            </a:xfrm>
            <a:custGeom>
              <a:avLst/>
              <a:gdLst>
                <a:gd name="T0" fmla="*/ 1862 w 1871"/>
                <a:gd name="T1" fmla="*/ 302 h 1217"/>
                <a:gd name="T2" fmla="*/ 1815 w 1871"/>
                <a:gd name="T3" fmla="*/ 386 h 1217"/>
                <a:gd name="T4" fmla="*/ 1712 w 1871"/>
                <a:gd name="T5" fmla="*/ 400 h 1217"/>
                <a:gd name="T6" fmla="*/ 1608 w 1871"/>
                <a:gd name="T7" fmla="*/ 623 h 1217"/>
                <a:gd name="T8" fmla="*/ 1577 w 1871"/>
                <a:gd name="T9" fmla="*/ 670 h 1217"/>
                <a:gd name="T10" fmla="*/ 1549 w 1871"/>
                <a:gd name="T11" fmla="*/ 723 h 1217"/>
                <a:gd name="T12" fmla="*/ 1498 w 1871"/>
                <a:gd name="T13" fmla="*/ 720 h 1217"/>
                <a:gd name="T14" fmla="*/ 1475 w 1871"/>
                <a:gd name="T15" fmla="*/ 760 h 1217"/>
                <a:gd name="T16" fmla="*/ 1518 w 1871"/>
                <a:gd name="T17" fmla="*/ 753 h 1217"/>
                <a:gd name="T18" fmla="*/ 1582 w 1871"/>
                <a:gd name="T19" fmla="*/ 766 h 1217"/>
                <a:gd name="T20" fmla="*/ 1596 w 1871"/>
                <a:gd name="T21" fmla="*/ 819 h 1217"/>
                <a:gd name="T22" fmla="*/ 1640 w 1871"/>
                <a:gd name="T23" fmla="*/ 871 h 1217"/>
                <a:gd name="T24" fmla="*/ 1593 w 1871"/>
                <a:gd name="T25" fmla="*/ 918 h 1217"/>
                <a:gd name="T26" fmla="*/ 1477 w 1871"/>
                <a:gd name="T27" fmla="*/ 946 h 1217"/>
                <a:gd name="T28" fmla="*/ 1377 w 1871"/>
                <a:gd name="T29" fmla="*/ 880 h 1217"/>
                <a:gd name="T30" fmla="*/ 1277 w 1871"/>
                <a:gd name="T31" fmla="*/ 918 h 1217"/>
                <a:gd name="T32" fmla="*/ 1187 w 1871"/>
                <a:gd name="T33" fmla="*/ 982 h 1217"/>
                <a:gd name="T34" fmla="*/ 1115 w 1871"/>
                <a:gd name="T35" fmla="*/ 1049 h 1217"/>
                <a:gd name="T36" fmla="*/ 1069 w 1871"/>
                <a:gd name="T37" fmla="*/ 1139 h 1217"/>
                <a:gd name="T38" fmla="*/ 675 w 1871"/>
                <a:gd name="T39" fmla="*/ 1093 h 1217"/>
                <a:gd name="T40" fmla="*/ 386 w 1871"/>
                <a:gd name="T41" fmla="*/ 1149 h 1217"/>
                <a:gd name="T42" fmla="*/ 123 w 1871"/>
                <a:gd name="T43" fmla="*/ 1217 h 1217"/>
                <a:gd name="T44" fmla="*/ 172 w 1871"/>
                <a:gd name="T45" fmla="*/ 1061 h 1217"/>
                <a:gd name="T46" fmla="*/ 33 w 1871"/>
                <a:gd name="T47" fmla="*/ 834 h 1217"/>
                <a:gd name="T48" fmla="*/ 18 w 1871"/>
                <a:gd name="T49" fmla="*/ 567 h 1217"/>
                <a:gd name="T50" fmla="*/ 126 w 1871"/>
                <a:gd name="T51" fmla="*/ 427 h 1217"/>
                <a:gd name="T52" fmla="*/ 1 w 1871"/>
                <a:gd name="T53" fmla="*/ 193 h 1217"/>
                <a:gd name="T54" fmla="*/ 75 w 1871"/>
                <a:gd name="T55" fmla="*/ 0 h 1217"/>
                <a:gd name="T56" fmla="*/ 162 w 1871"/>
                <a:gd name="T57" fmla="*/ 58 h 1217"/>
                <a:gd name="T58" fmla="*/ 133 w 1871"/>
                <a:gd name="T59" fmla="*/ 178 h 1217"/>
                <a:gd name="T60" fmla="*/ 488 w 1871"/>
                <a:gd name="T61" fmla="*/ 242 h 1217"/>
                <a:gd name="T62" fmla="*/ 751 w 1871"/>
                <a:gd name="T63" fmla="*/ 249 h 1217"/>
                <a:gd name="T64" fmla="*/ 1049 w 1871"/>
                <a:gd name="T65" fmla="*/ 111 h 1217"/>
                <a:gd name="T66" fmla="*/ 1489 w 1871"/>
                <a:gd name="T67" fmla="*/ 74 h 1217"/>
                <a:gd name="T68" fmla="*/ 1657 w 1871"/>
                <a:gd name="T69" fmla="*/ 128 h 1217"/>
                <a:gd name="T70" fmla="*/ 1871 w 1871"/>
                <a:gd name="T71" fmla="*/ 242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71" h="1217">
                  <a:moveTo>
                    <a:pt x="1871" y="242"/>
                  </a:moveTo>
                  <a:lnTo>
                    <a:pt x="1862" y="302"/>
                  </a:lnTo>
                  <a:lnTo>
                    <a:pt x="1818" y="366"/>
                  </a:lnTo>
                  <a:lnTo>
                    <a:pt x="1815" y="386"/>
                  </a:lnTo>
                  <a:lnTo>
                    <a:pt x="1746" y="380"/>
                  </a:lnTo>
                  <a:lnTo>
                    <a:pt x="1712" y="400"/>
                  </a:lnTo>
                  <a:lnTo>
                    <a:pt x="1647" y="497"/>
                  </a:lnTo>
                  <a:lnTo>
                    <a:pt x="1608" y="623"/>
                  </a:lnTo>
                  <a:lnTo>
                    <a:pt x="1601" y="663"/>
                  </a:lnTo>
                  <a:lnTo>
                    <a:pt x="1577" y="670"/>
                  </a:lnTo>
                  <a:lnTo>
                    <a:pt x="1549" y="697"/>
                  </a:lnTo>
                  <a:lnTo>
                    <a:pt x="1549" y="723"/>
                  </a:lnTo>
                  <a:lnTo>
                    <a:pt x="1525" y="713"/>
                  </a:lnTo>
                  <a:lnTo>
                    <a:pt x="1498" y="720"/>
                  </a:lnTo>
                  <a:lnTo>
                    <a:pt x="1495" y="747"/>
                  </a:lnTo>
                  <a:lnTo>
                    <a:pt x="1475" y="760"/>
                  </a:lnTo>
                  <a:lnTo>
                    <a:pt x="1493" y="770"/>
                  </a:lnTo>
                  <a:lnTo>
                    <a:pt x="1518" y="753"/>
                  </a:lnTo>
                  <a:lnTo>
                    <a:pt x="1559" y="757"/>
                  </a:lnTo>
                  <a:lnTo>
                    <a:pt x="1582" y="766"/>
                  </a:lnTo>
                  <a:lnTo>
                    <a:pt x="1592" y="789"/>
                  </a:lnTo>
                  <a:lnTo>
                    <a:pt x="1596" y="819"/>
                  </a:lnTo>
                  <a:lnTo>
                    <a:pt x="1603" y="836"/>
                  </a:lnTo>
                  <a:lnTo>
                    <a:pt x="1640" y="871"/>
                  </a:lnTo>
                  <a:lnTo>
                    <a:pt x="1657" y="908"/>
                  </a:lnTo>
                  <a:lnTo>
                    <a:pt x="1593" y="918"/>
                  </a:lnTo>
                  <a:lnTo>
                    <a:pt x="1544" y="946"/>
                  </a:lnTo>
                  <a:lnTo>
                    <a:pt x="1477" y="946"/>
                  </a:lnTo>
                  <a:lnTo>
                    <a:pt x="1471" y="919"/>
                  </a:lnTo>
                  <a:lnTo>
                    <a:pt x="1377" y="880"/>
                  </a:lnTo>
                  <a:lnTo>
                    <a:pt x="1354" y="904"/>
                  </a:lnTo>
                  <a:lnTo>
                    <a:pt x="1277" y="918"/>
                  </a:lnTo>
                  <a:lnTo>
                    <a:pt x="1248" y="975"/>
                  </a:lnTo>
                  <a:lnTo>
                    <a:pt x="1187" y="982"/>
                  </a:lnTo>
                  <a:lnTo>
                    <a:pt x="1092" y="1006"/>
                  </a:lnTo>
                  <a:lnTo>
                    <a:pt x="1115" y="1049"/>
                  </a:lnTo>
                  <a:lnTo>
                    <a:pt x="1115" y="1102"/>
                  </a:lnTo>
                  <a:lnTo>
                    <a:pt x="1069" y="1139"/>
                  </a:lnTo>
                  <a:lnTo>
                    <a:pt x="870" y="1171"/>
                  </a:lnTo>
                  <a:lnTo>
                    <a:pt x="675" y="1093"/>
                  </a:lnTo>
                  <a:lnTo>
                    <a:pt x="542" y="1061"/>
                  </a:lnTo>
                  <a:lnTo>
                    <a:pt x="386" y="1149"/>
                  </a:lnTo>
                  <a:lnTo>
                    <a:pt x="233" y="1133"/>
                  </a:lnTo>
                  <a:lnTo>
                    <a:pt x="123" y="1217"/>
                  </a:lnTo>
                  <a:lnTo>
                    <a:pt x="136" y="1121"/>
                  </a:lnTo>
                  <a:lnTo>
                    <a:pt x="172" y="1061"/>
                  </a:lnTo>
                  <a:lnTo>
                    <a:pt x="165" y="945"/>
                  </a:lnTo>
                  <a:lnTo>
                    <a:pt x="33" y="834"/>
                  </a:lnTo>
                  <a:lnTo>
                    <a:pt x="6" y="773"/>
                  </a:lnTo>
                  <a:lnTo>
                    <a:pt x="18" y="567"/>
                  </a:lnTo>
                  <a:lnTo>
                    <a:pt x="130" y="480"/>
                  </a:lnTo>
                  <a:lnTo>
                    <a:pt x="126" y="427"/>
                  </a:lnTo>
                  <a:lnTo>
                    <a:pt x="62" y="348"/>
                  </a:lnTo>
                  <a:lnTo>
                    <a:pt x="1" y="193"/>
                  </a:lnTo>
                  <a:lnTo>
                    <a:pt x="0" y="104"/>
                  </a:lnTo>
                  <a:lnTo>
                    <a:pt x="75" y="0"/>
                  </a:lnTo>
                  <a:lnTo>
                    <a:pt x="162" y="12"/>
                  </a:lnTo>
                  <a:lnTo>
                    <a:pt x="162" y="58"/>
                  </a:lnTo>
                  <a:lnTo>
                    <a:pt x="93" y="103"/>
                  </a:lnTo>
                  <a:lnTo>
                    <a:pt x="133" y="178"/>
                  </a:lnTo>
                  <a:lnTo>
                    <a:pt x="264" y="164"/>
                  </a:lnTo>
                  <a:lnTo>
                    <a:pt x="488" y="242"/>
                  </a:lnTo>
                  <a:lnTo>
                    <a:pt x="547" y="204"/>
                  </a:lnTo>
                  <a:lnTo>
                    <a:pt x="751" y="249"/>
                  </a:lnTo>
                  <a:lnTo>
                    <a:pt x="904" y="244"/>
                  </a:lnTo>
                  <a:lnTo>
                    <a:pt x="1049" y="111"/>
                  </a:lnTo>
                  <a:lnTo>
                    <a:pt x="1359" y="25"/>
                  </a:lnTo>
                  <a:lnTo>
                    <a:pt x="1489" y="74"/>
                  </a:lnTo>
                  <a:lnTo>
                    <a:pt x="1589" y="53"/>
                  </a:lnTo>
                  <a:lnTo>
                    <a:pt x="1657" y="128"/>
                  </a:lnTo>
                  <a:lnTo>
                    <a:pt x="1737" y="131"/>
                  </a:lnTo>
                  <a:lnTo>
                    <a:pt x="1871" y="242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0" name="Freeform 317">
              <a:extLst>
                <a:ext uri="{FF2B5EF4-FFF2-40B4-BE49-F238E27FC236}">
                  <a16:creationId xmlns:a16="http://schemas.microsoft.com/office/drawing/2014/main" id="{2547BEA0-C168-4C06-A2FE-D3090F43A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700" y="4562475"/>
              <a:ext cx="898525" cy="639763"/>
            </a:xfrm>
            <a:custGeom>
              <a:avLst/>
              <a:gdLst>
                <a:gd name="T0" fmla="*/ 2826 w 2829"/>
                <a:gd name="T1" fmla="*/ 1498 h 2015"/>
                <a:gd name="T2" fmla="*/ 2767 w 2829"/>
                <a:gd name="T3" fmla="*/ 1558 h 2015"/>
                <a:gd name="T4" fmla="*/ 2684 w 2829"/>
                <a:gd name="T5" fmla="*/ 1589 h 2015"/>
                <a:gd name="T6" fmla="*/ 2588 w 2829"/>
                <a:gd name="T7" fmla="*/ 1693 h 2015"/>
                <a:gd name="T8" fmla="*/ 2631 w 2829"/>
                <a:gd name="T9" fmla="*/ 1629 h 2015"/>
                <a:gd name="T10" fmla="*/ 2664 w 2829"/>
                <a:gd name="T11" fmla="*/ 1576 h 2015"/>
                <a:gd name="T12" fmla="*/ 2694 w 2829"/>
                <a:gd name="T13" fmla="*/ 1532 h 2015"/>
                <a:gd name="T14" fmla="*/ 2657 w 2829"/>
                <a:gd name="T15" fmla="*/ 1513 h 2015"/>
                <a:gd name="T16" fmla="*/ 2616 w 2829"/>
                <a:gd name="T17" fmla="*/ 1460 h 2015"/>
                <a:gd name="T18" fmla="*/ 2570 w 2829"/>
                <a:gd name="T19" fmla="*/ 1500 h 2015"/>
                <a:gd name="T20" fmla="*/ 2527 w 2829"/>
                <a:gd name="T21" fmla="*/ 1514 h 2015"/>
                <a:gd name="T22" fmla="*/ 2604 w 2829"/>
                <a:gd name="T23" fmla="*/ 1527 h 2015"/>
                <a:gd name="T24" fmla="*/ 2581 w 2829"/>
                <a:gd name="T25" fmla="*/ 1587 h 2015"/>
                <a:gd name="T26" fmla="*/ 2558 w 2829"/>
                <a:gd name="T27" fmla="*/ 1610 h 2015"/>
                <a:gd name="T28" fmla="*/ 2535 w 2829"/>
                <a:gd name="T29" fmla="*/ 1610 h 2015"/>
                <a:gd name="T30" fmla="*/ 2558 w 2829"/>
                <a:gd name="T31" fmla="*/ 1663 h 2015"/>
                <a:gd name="T32" fmla="*/ 2529 w 2829"/>
                <a:gd name="T33" fmla="*/ 1719 h 2015"/>
                <a:gd name="T34" fmla="*/ 2588 w 2829"/>
                <a:gd name="T35" fmla="*/ 1673 h 2015"/>
                <a:gd name="T36" fmla="*/ 2519 w 2829"/>
                <a:gd name="T37" fmla="*/ 1760 h 2015"/>
                <a:gd name="T38" fmla="*/ 2527 w 2829"/>
                <a:gd name="T39" fmla="*/ 1833 h 2015"/>
                <a:gd name="T40" fmla="*/ 2545 w 2829"/>
                <a:gd name="T41" fmla="*/ 2008 h 2015"/>
                <a:gd name="T42" fmla="*/ 2331 w 2829"/>
                <a:gd name="T43" fmla="*/ 1894 h 2015"/>
                <a:gd name="T44" fmla="*/ 2163 w 2829"/>
                <a:gd name="T45" fmla="*/ 1840 h 2015"/>
                <a:gd name="T46" fmla="*/ 1723 w 2829"/>
                <a:gd name="T47" fmla="*/ 1877 h 2015"/>
                <a:gd name="T48" fmla="*/ 1425 w 2829"/>
                <a:gd name="T49" fmla="*/ 2015 h 2015"/>
                <a:gd name="T50" fmla="*/ 1162 w 2829"/>
                <a:gd name="T51" fmla="*/ 2008 h 2015"/>
                <a:gd name="T52" fmla="*/ 807 w 2829"/>
                <a:gd name="T53" fmla="*/ 1944 h 2015"/>
                <a:gd name="T54" fmla="*/ 836 w 2829"/>
                <a:gd name="T55" fmla="*/ 1824 h 2015"/>
                <a:gd name="T56" fmla="*/ 749 w 2829"/>
                <a:gd name="T57" fmla="*/ 1766 h 2015"/>
                <a:gd name="T58" fmla="*/ 712 w 2829"/>
                <a:gd name="T59" fmla="*/ 1614 h 2015"/>
                <a:gd name="T60" fmla="*/ 595 w 2829"/>
                <a:gd name="T61" fmla="*/ 1611 h 2015"/>
                <a:gd name="T62" fmla="*/ 454 w 2829"/>
                <a:gd name="T63" fmla="*/ 1513 h 2015"/>
                <a:gd name="T64" fmla="*/ 331 w 2829"/>
                <a:gd name="T65" fmla="*/ 1524 h 2015"/>
                <a:gd name="T66" fmla="*/ 333 w 2829"/>
                <a:gd name="T67" fmla="*/ 1348 h 2015"/>
                <a:gd name="T68" fmla="*/ 192 w 2829"/>
                <a:gd name="T69" fmla="*/ 1303 h 2015"/>
                <a:gd name="T70" fmla="*/ 0 w 2829"/>
                <a:gd name="T71" fmla="*/ 963 h 2015"/>
                <a:gd name="T72" fmla="*/ 228 w 2829"/>
                <a:gd name="T73" fmla="*/ 884 h 2015"/>
                <a:gd name="T74" fmla="*/ 378 w 2829"/>
                <a:gd name="T75" fmla="*/ 587 h 2015"/>
                <a:gd name="T76" fmla="*/ 673 w 2829"/>
                <a:gd name="T77" fmla="*/ 253 h 2015"/>
                <a:gd name="T78" fmla="*/ 745 w 2829"/>
                <a:gd name="T79" fmla="*/ 193 h 2015"/>
                <a:gd name="T80" fmla="*/ 1103 w 2829"/>
                <a:gd name="T81" fmla="*/ 185 h 2015"/>
                <a:gd name="T82" fmla="*/ 1219 w 2829"/>
                <a:gd name="T83" fmla="*/ 202 h 2015"/>
                <a:gd name="T84" fmla="*/ 1352 w 2829"/>
                <a:gd name="T85" fmla="*/ 235 h 2015"/>
                <a:gd name="T86" fmla="*/ 1601 w 2829"/>
                <a:gd name="T87" fmla="*/ 163 h 2015"/>
                <a:gd name="T88" fmla="*/ 1781 w 2829"/>
                <a:gd name="T89" fmla="*/ 19 h 2015"/>
                <a:gd name="T90" fmla="*/ 2062 w 2829"/>
                <a:gd name="T91" fmla="*/ 92 h 2015"/>
                <a:gd name="T92" fmla="*/ 2328 w 2829"/>
                <a:gd name="T93" fmla="*/ 528 h 2015"/>
                <a:gd name="T94" fmla="*/ 2363 w 2829"/>
                <a:gd name="T95" fmla="*/ 957 h 2015"/>
                <a:gd name="T96" fmla="*/ 2352 w 2829"/>
                <a:gd name="T97" fmla="*/ 1200 h 2015"/>
                <a:gd name="T98" fmla="*/ 2570 w 2829"/>
                <a:gd name="T99" fmla="*/ 1296 h 2015"/>
                <a:gd name="T100" fmla="*/ 2725 w 2829"/>
                <a:gd name="T101" fmla="*/ 1241 h 2015"/>
                <a:gd name="T102" fmla="*/ 2829 w 2829"/>
                <a:gd name="T103" fmla="*/ 1395 h 2015"/>
                <a:gd name="T104" fmla="*/ 2806 w 2829"/>
                <a:gd name="T105" fmla="*/ 1462 h 2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29" h="2015">
                  <a:moveTo>
                    <a:pt x="2806" y="1462"/>
                  </a:moveTo>
                  <a:lnTo>
                    <a:pt x="2826" y="1498"/>
                  </a:lnTo>
                  <a:lnTo>
                    <a:pt x="2823" y="1534"/>
                  </a:lnTo>
                  <a:lnTo>
                    <a:pt x="2767" y="1558"/>
                  </a:lnTo>
                  <a:lnTo>
                    <a:pt x="2731" y="1579"/>
                  </a:lnTo>
                  <a:lnTo>
                    <a:pt x="2684" y="1589"/>
                  </a:lnTo>
                  <a:lnTo>
                    <a:pt x="2641" y="1643"/>
                  </a:lnTo>
                  <a:lnTo>
                    <a:pt x="2588" y="1693"/>
                  </a:lnTo>
                  <a:lnTo>
                    <a:pt x="2598" y="1666"/>
                  </a:lnTo>
                  <a:lnTo>
                    <a:pt x="2631" y="1629"/>
                  </a:lnTo>
                  <a:lnTo>
                    <a:pt x="2631" y="1599"/>
                  </a:lnTo>
                  <a:lnTo>
                    <a:pt x="2664" y="1576"/>
                  </a:lnTo>
                  <a:lnTo>
                    <a:pt x="2697" y="1549"/>
                  </a:lnTo>
                  <a:lnTo>
                    <a:pt x="2694" y="1532"/>
                  </a:lnTo>
                  <a:lnTo>
                    <a:pt x="2647" y="1542"/>
                  </a:lnTo>
                  <a:lnTo>
                    <a:pt x="2657" y="1513"/>
                  </a:lnTo>
                  <a:lnTo>
                    <a:pt x="2647" y="1483"/>
                  </a:lnTo>
                  <a:lnTo>
                    <a:pt x="2616" y="1460"/>
                  </a:lnTo>
                  <a:lnTo>
                    <a:pt x="2584" y="1473"/>
                  </a:lnTo>
                  <a:lnTo>
                    <a:pt x="2570" y="1500"/>
                  </a:lnTo>
                  <a:lnTo>
                    <a:pt x="2530" y="1488"/>
                  </a:lnTo>
                  <a:lnTo>
                    <a:pt x="2527" y="1514"/>
                  </a:lnTo>
                  <a:lnTo>
                    <a:pt x="2594" y="1520"/>
                  </a:lnTo>
                  <a:lnTo>
                    <a:pt x="2604" y="1527"/>
                  </a:lnTo>
                  <a:lnTo>
                    <a:pt x="2614" y="1547"/>
                  </a:lnTo>
                  <a:lnTo>
                    <a:pt x="2581" y="1587"/>
                  </a:lnTo>
                  <a:lnTo>
                    <a:pt x="2575" y="1604"/>
                  </a:lnTo>
                  <a:lnTo>
                    <a:pt x="2558" y="1610"/>
                  </a:lnTo>
                  <a:lnTo>
                    <a:pt x="2548" y="1597"/>
                  </a:lnTo>
                  <a:lnTo>
                    <a:pt x="2535" y="1610"/>
                  </a:lnTo>
                  <a:lnTo>
                    <a:pt x="2558" y="1640"/>
                  </a:lnTo>
                  <a:lnTo>
                    <a:pt x="2558" y="1663"/>
                  </a:lnTo>
                  <a:lnTo>
                    <a:pt x="2526" y="1684"/>
                  </a:lnTo>
                  <a:lnTo>
                    <a:pt x="2529" y="1719"/>
                  </a:lnTo>
                  <a:lnTo>
                    <a:pt x="2545" y="1683"/>
                  </a:lnTo>
                  <a:lnTo>
                    <a:pt x="2588" y="1673"/>
                  </a:lnTo>
                  <a:lnTo>
                    <a:pt x="2588" y="1693"/>
                  </a:lnTo>
                  <a:lnTo>
                    <a:pt x="2519" y="1760"/>
                  </a:lnTo>
                  <a:lnTo>
                    <a:pt x="2522" y="1783"/>
                  </a:lnTo>
                  <a:lnTo>
                    <a:pt x="2527" y="1833"/>
                  </a:lnTo>
                  <a:lnTo>
                    <a:pt x="2521" y="1939"/>
                  </a:lnTo>
                  <a:lnTo>
                    <a:pt x="2545" y="2008"/>
                  </a:lnTo>
                  <a:lnTo>
                    <a:pt x="2411" y="1897"/>
                  </a:lnTo>
                  <a:lnTo>
                    <a:pt x="2331" y="1894"/>
                  </a:lnTo>
                  <a:lnTo>
                    <a:pt x="2263" y="1819"/>
                  </a:lnTo>
                  <a:lnTo>
                    <a:pt x="2163" y="1840"/>
                  </a:lnTo>
                  <a:lnTo>
                    <a:pt x="2033" y="1791"/>
                  </a:lnTo>
                  <a:lnTo>
                    <a:pt x="1723" y="1877"/>
                  </a:lnTo>
                  <a:lnTo>
                    <a:pt x="1578" y="2010"/>
                  </a:lnTo>
                  <a:lnTo>
                    <a:pt x="1425" y="2015"/>
                  </a:lnTo>
                  <a:lnTo>
                    <a:pt x="1221" y="1970"/>
                  </a:lnTo>
                  <a:lnTo>
                    <a:pt x="1162" y="2008"/>
                  </a:lnTo>
                  <a:lnTo>
                    <a:pt x="938" y="1930"/>
                  </a:lnTo>
                  <a:lnTo>
                    <a:pt x="807" y="1944"/>
                  </a:lnTo>
                  <a:lnTo>
                    <a:pt x="767" y="1869"/>
                  </a:lnTo>
                  <a:lnTo>
                    <a:pt x="836" y="1824"/>
                  </a:lnTo>
                  <a:lnTo>
                    <a:pt x="836" y="1778"/>
                  </a:lnTo>
                  <a:lnTo>
                    <a:pt x="749" y="1766"/>
                  </a:lnTo>
                  <a:lnTo>
                    <a:pt x="689" y="1709"/>
                  </a:lnTo>
                  <a:lnTo>
                    <a:pt x="712" y="1614"/>
                  </a:lnTo>
                  <a:lnTo>
                    <a:pt x="668" y="1573"/>
                  </a:lnTo>
                  <a:lnTo>
                    <a:pt x="595" y="1611"/>
                  </a:lnTo>
                  <a:lnTo>
                    <a:pt x="551" y="1608"/>
                  </a:lnTo>
                  <a:lnTo>
                    <a:pt x="454" y="1513"/>
                  </a:lnTo>
                  <a:lnTo>
                    <a:pt x="367" y="1530"/>
                  </a:lnTo>
                  <a:lnTo>
                    <a:pt x="331" y="1524"/>
                  </a:lnTo>
                  <a:lnTo>
                    <a:pt x="363" y="1417"/>
                  </a:lnTo>
                  <a:lnTo>
                    <a:pt x="333" y="1348"/>
                  </a:lnTo>
                  <a:lnTo>
                    <a:pt x="253" y="1325"/>
                  </a:lnTo>
                  <a:lnTo>
                    <a:pt x="192" y="1303"/>
                  </a:lnTo>
                  <a:lnTo>
                    <a:pt x="171" y="1210"/>
                  </a:lnTo>
                  <a:lnTo>
                    <a:pt x="0" y="963"/>
                  </a:lnTo>
                  <a:lnTo>
                    <a:pt x="129" y="898"/>
                  </a:lnTo>
                  <a:lnTo>
                    <a:pt x="228" y="884"/>
                  </a:lnTo>
                  <a:lnTo>
                    <a:pt x="304" y="797"/>
                  </a:lnTo>
                  <a:lnTo>
                    <a:pt x="378" y="587"/>
                  </a:lnTo>
                  <a:lnTo>
                    <a:pt x="530" y="394"/>
                  </a:lnTo>
                  <a:lnTo>
                    <a:pt x="673" y="253"/>
                  </a:lnTo>
                  <a:lnTo>
                    <a:pt x="719" y="255"/>
                  </a:lnTo>
                  <a:lnTo>
                    <a:pt x="745" y="193"/>
                  </a:lnTo>
                  <a:lnTo>
                    <a:pt x="849" y="112"/>
                  </a:lnTo>
                  <a:lnTo>
                    <a:pt x="1103" y="185"/>
                  </a:lnTo>
                  <a:lnTo>
                    <a:pt x="1156" y="162"/>
                  </a:lnTo>
                  <a:lnTo>
                    <a:pt x="1219" y="202"/>
                  </a:lnTo>
                  <a:lnTo>
                    <a:pt x="1263" y="187"/>
                  </a:lnTo>
                  <a:lnTo>
                    <a:pt x="1352" y="235"/>
                  </a:lnTo>
                  <a:lnTo>
                    <a:pt x="1467" y="169"/>
                  </a:lnTo>
                  <a:lnTo>
                    <a:pt x="1601" y="163"/>
                  </a:lnTo>
                  <a:lnTo>
                    <a:pt x="1650" y="180"/>
                  </a:lnTo>
                  <a:lnTo>
                    <a:pt x="1781" y="19"/>
                  </a:lnTo>
                  <a:lnTo>
                    <a:pt x="1972" y="0"/>
                  </a:lnTo>
                  <a:lnTo>
                    <a:pt x="2062" y="92"/>
                  </a:lnTo>
                  <a:lnTo>
                    <a:pt x="2134" y="278"/>
                  </a:lnTo>
                  <a:lnTo>
                    <a:pt x="2328" y="528"/>
                  </a:lnTo>
                  <a:lnTo>
                    <a:pt x="2379" y="673"/>
                  </a:lnTo>
                  <a:lnTo>
                    <a:pt x="2363" y="957"/>
                  </a:lnTo>
                  <a:lnTo>
                    <a:pt x="2386" y="1081"/>
                  </a:lnTo>
                  <a:lnTo>
                    <a:pt x="2352" y="1200"/>
                  </a:lnTo>
                  <a:lnTo>
                    <a:pt x="2473" y="1314"/>
                  </a:lnTo>
                  <a:lnTo>
                    <a:pt x="2570" y="1296"/>
                  </a:lnTo>
                  <a:lnTo>
                    <a:pt x="2637" y="1246"/>
                  </a:lnTo>
                  <a:lnTo>
                    <a:pt x="2725" y="1241"/>
                  </a:lnTo>
                  <a:lnTo>
                    <a:pt x="2810" y="1322"/>
                  </a:lnTo>
                  <a:lnTo>
                    <a:pt x="2829" y="1395"/>
                  </a:lnTo>
                  <a:lnTo>
                    <a:pt x="2826" y="1471"/>
                  </a:lnTo>
                  <a:lnTo>
                    <a:pt x="2806" y="1462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1" name="Freeform 318">
              <a:extLst>
                <a:ext uri="{FF2B5EF4-FFF2-40B4-BE49-F238E27FC236}">
                  <a16:creationId xmlns:a16="http://schemas.microsoft.com/office/drawing/2014/main" id="{A778A8FD-2EA7-4219-B75B-C06878CEE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00" y="5365750"/>
              <a:ext cx="242888" cy="193675"/>
            </a:xfrm>
            <a:custGeom>
              <a:avLst/>
              <a:gdLst>
                <a:gd name="T0" fmla="*/ 766 w 766"/>
                <a:gd name="T1" fmla="*/ 296 h 607"/>
                <a:gd name="T2" fmla="*/ 730 w 766"/>
                <a:gd name="T3" fmla="*/ 356 h 607"/>
                <a:gd name="T4" fmla="*/ 717 w 766"/>
                <a:gd name="T5" fmla="*/ 452 h 607"/>
                <a:gd name="T6" fmla="*/ 601 w 766"/>
                <a:gd name="T7" fmla="*/ 503 h 607"/>
                <a:gd name="T8" fmla="*/ 441 w 766"/>
                <a:gd name="T9" fmla="*/ 501 h 607"/>
                <a:gd name="T10" fmla="*/ 355 w 766"/>
                <a:gd name="T11" fmla="*/ 589 h 607"/>
                <a:gd name="T12" fmla="*/ 248 w 766"/>
                <a:gd name="T13" fmla="*/ 589 h 607"/>
                <a:gd name="T14" fmla="*/ 188 w 766"/>
                <a:gd name="T15" fmla="*/ 557 h 607"/>
                <a:gd name="T16" fmla="*/ 116 w 766"/>
                <a:gd name="T17" fmla="*/ 607 h 607"/>
                <a:gd name="T18" fmla="*/ 38 w 766"/>
                <a:gd name="T19" fmla="*/ 509 h 607"/>
                <a:gd name="T20" fmla="*/ 0 w 766"/>
                <a:gd name="T21" fmla="*/ 379 h 607"/>
                <a:gd name="T22" fmla="*/ 32 w 766"/>
                <a:gd name="T23" fmla="*/ 207 h 607"/>
                <a:gd name="T24" fmla="*/ 72 w 766"/>
                <a:gd name="T25" fmla="*/ 192 h 607"/>
                <a:gd name="T26" fmla="*/ 101 w 766"/>
                <a:gd name="T27" fmla="*/ 120 h 607"/>
                <a:gd name="T28" fmla="*/ 187 w 766"/>
                <a:gd name="T29" fmla="*/ 79 h 607"/>
                <a:gd name="T30" fmla="*/ 237 w 766"/>
                <a:gd name="T31" fmla="*/ 105 h 607"/>
                <a:gd name="T32" fmla="*/ 287 w 766"/>
                <a:gd name="T33" fmla="*/ 98 h 607"/>
                <a:gd name="T34" fmla="*/ 311 w 766"/>
                <a:gd name="T35" fmla="*/ 54 h 607"/>
                <a:gd name="T36" fmla="*/ 388 w 766"/>
                <a:gd name="T37" fmla="*/ 47 h 607"/>
                <a:gd name="T38" fmla="*/ 417 w 766"/>
                <a:gd name="T39" fmla="*/ 11 h 607"/>
                <a:gd name="T40" fmla="*/ 467 w 766"/>
                <a:gd name="T41" fmla="*/ 10 h 607"/>
                <a:gd name="T42" fmla="*/ 480 w 766"/>
                <a:gd name="T43" fmla="*/ 33 h 607"/>
                <a:gd name="T44" fmla="*/ 534 w 766"/>
                <a:gd name="T45" fmla="*/ 0 h 607"/>
                <a:gd name="T46" fmla="*/ 600 w 766"/>
                <a:gd name="T47" fmla="*/ 8 h 607"/>
                <a:gd name="T48" fmla="*/ 627 w 766"/>
                <a:gd name="T49" fmla="*/ 69 h 607"/>
                <a:gd name="T50" fmla="*/ 759 w 766"/>
                <a:gd name="T51" fmla="*/ 180 h 607"/>
                <a:gd name="T52" fmla="*/ 766 w 766"/>
                <a:gd name="T53" fmla="*/ 296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6" h="607">
                  <a:moveTo>
                    <a:pt x="766" y="296"/>
                  </a:moveTo>
                  <a:lnTo>
                    <a:pt x="730" y="356"/>
                  </a:lnTo>
                  <a:lnTo>
                    <a:pt x="717" y="452"/>
                  </a:lnTo>
                  <a:lnTo>
                    <a:pt x="601" y="503"/>
                  </a:lnTo>
                  <a:lnTo>
                    <a:pt x="441" y="501"/>
                  </a:lnTo>
                  <a:lnTo>
                    <a:pt x="355" y="589"/>
                  </a:lnTo>
                  <a:lnTo>
                    <a:pt x="248" y="589"/>
                  </a:lnTo>
                  <a:lnTo>
                    <a:pt x="188" y="557"/>
                  </a:lnTo>
                  <a:lnTo>
                    <a:pt x="116" y="607"/>
                  </a:lnTo>
                  <a:lnTo>
                    <a:pt x="38" y="509"/>
                  </a:lnTo>
                  <a:lnTo>
                    <a:pt x="0" y="379"/>
                  </a:lnTo>
                  <a:lnTo>
                    <a:pt x="32" y="207"/>
                  </a:lnTo>
                  <a:lnTo>
                    <a:pt x="72" y="192"/>
                  </a:lnTo>
                  <a:lnTo>
                    <a:pt x="101" y="120"/>
                  </a:lnTo>
                  <a:lnTo>
                    <a:pt x="187" y="79"/>
                  </a:lnTo>
                  <a:lnTo>
                    <a:pt x="237" y="105"/>
                  </a:lnTo>
                  <a:lnTo>
                    <a:pt x="287" y="98"/>
                  </a:lnTo>
                  <a:lnTo>
                    <a:pt x="311" y="54"/>
                  </a:lnTo>
                  <a:lnTo>
                    <a:pt x="388" y="47"/>
                  </a:lnTo>
                  <a:lnTo>
                    <a:pt x="417" y="11"/>
                  </a:lnTo>
                  <a:lnTo>
                    <a:pt x="467" y="10"/>
                  </a:lnTo>
                  <a:lnTo>
                    <a:pt x="480" y="33"/>
                  </a:lnTo>
                  <a:lnTo>
                    <a:pt x="534" y="0"/>
                  </a:lnTo>
                  <a:lnTo>
                    <a:pt x="600" y="8"/>
                  </a:lnTo>
                  <a:lnTo>
                    <a:pt x="627" y="69"/>
                  </a:lnTo>
                  <a:lnTo>
                    <a:pt x="759" y="180"/>
                  </a:lnTo>
                  <a:lnTo>
                    <a:pt x="766" y="29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2" name="Freeform 319">
              <a:extLst>
                <a:ext uri="{FF2B5EF4-FFF2-40B4-BE49-F238E27FC236}">
                  <a16:creationId xmlns:a16="http://schemas.microsoft.com/office/drawing/2014/main" id="{9F8BEF83-F55A-4E0D-9AF3-D61DF4E80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4854575"/>
              <a:ext cx="390525" cy="577850"/>
            </a:xfrm>
            <a:custGeom>
              <a:avLst/>
              <a:gdLst>
                <a:gd name="T0" fmla="*/ 1103 w 1227"/>
                <a:gd name="T1" fmla="*/ 1618 h 1817"/>
                <a:gd name="T2" fmla="*/ 970 w 1227"/>
                <a:gd name="T3" fmla="*/ 1620 h 1817"/>
                <a:gd name="T4" fmla="*/ 814 w 1227"/>
                <a:gd name="T5" fmla="*/ 1664 h 1817"/>
                <a:gd name="T6" fmla="*/ 690 w 1227"/>
                <a:gd name="T7" fmla="*/ 1689 h 1817"/>
                <a:gd name="T8" fmla="*/ 535 w 1227"/>
                <a:gd name="T9" fmla="*/ 1817 h 1817"/>
                <a:gd name="T10" fmla="*/ 423 w 1227"/>
                <a:gd name="T11" fmla="*/ 1608 h 1817"/>
                <a:gd name="T12" fmla="*/ 386 w 1227"/>
                <a:gd name="T13" fmla="*/ 1540 h 1817"/>
                <a:gd name="T14" fmla="*/ 381 w 1227"/>
                <a:gd name="T15" fmla="*/ 1513 h 1817"/>
                <a:gd name="T16" fmla="*/ 361 w 1227"/>
                <a:gd name="T17" fmla="*/ 1477 h 1817"/>
                <a:gd name="T18" fmla="*/ 342 w 1227"/>
                <a:gd name="T19" fmla="*/ 1454 h 1817"/>
                <a:gd name="T20" fmla="*/ 340 w 1227"/>
                <a:gd name="T21" fmla="*/ 1447 h 1817"/>
                <a:gd name="T22" fmla="*/ 349 w 1227"/>
                <a:gd name="T23" fmla="*/ 1442 h 1817"/>
                <a:gd name="T24" fmla="*/ 384 w 1227"/>
                <a:gd name="T25" fmla="*/ 1446 h 1817"/>
                <a:gd name="T26" fmla="*/ 423 w 1227"/>
                <a:gd name="T27" fmla="*/ 1454 h 1817"/>
                <a:gd name="T28" fmla="*/ 434 w 1227"/>
                <a:gd name="T29" fmla="*/ 1447 h 1817"/>
                <a:gd name="T30" fmla="*/ 443 w 1227"/>
                <a:gd name="T31" fmla="*/ 1429 h 1817"/>
                <a:gd name="T32" fmla="*/ 448 w 1227"/>
                <a:gd name="T33" fmla="*/ 1403 h 1817"/>
                <a:gd name="T34" fmla="*/ 445 w 1227"/>
                <a:gd name="T35" fmla="*/ 1379 h 1817"/>
                <a:gd name="T36" fmla="*/ 430 w 1227"/>
                <a:gd name="T37" fmla="*/ 1360 h 1817"/>
                <a:gd name="T38" fmla="*/ 378 w 1227"/>
                <a:gd name="T39" fmla="*/ 1341 h 1817"/>
                <a:gd name="T40" fmla="*/ 306 w 1227"/>
                <a:gd name="T41" fmla="*/ 1310 h 1817"/>
                <a:gd name="T42" fmla="*/ 280 w 1227"/>
                <a:gd name="T43" fmla="*/ 1292 h 1817"/>
                <a:gd name="T44" fmla="*/ 270 w 1227"/>
                <a:gd name="T45" fmla="*/ 1273 h 1817"/>
                <a:gd name="T46" fmla="*/ 268 w 1227"/>
                <a:gd name="T47" fmla="*/ 1261 h 1817"/>
                <a:gd name="T48" fmla="*/ 255 w 1227"/>
                <a:gd name="T49" fmla="*/ 1240 h 1817"/>
                <a:gd name="T50" fmla="*/ 219 w 1227"/>
                <a:gd name="T51" fmla="*/ 1210 h 1817"/>
                <a:gd name="T52" fmla="*/ 177 w 1227"/>
                <a:gd name="T53" fmla="*/ 1183 h 1817"/>
                <a:gd name="T54" fmla="*/ 150 w 1227"/>
                <a:gd name="T55" fmla="*/ 1149 h 1817"/>
                <a:gd name="T56" fmla="*/ 195 w 1227"/>
                <a:gd name="T57" fmla="*/ 1116 h 1817"/>
                <a:gd name="T58" fmla="*/ 130 w 1227"/>
                <a:gd name="T59" fmla="*/ 901 h 1817"/>
                <a:gd name="T60" fmla="*/ 186 w 1227"/>
                <a:gd name="T61" fmla="*/ 857 h 1817"/>
                <a:gd name="T62" fmla="*/ 137 w 1227"/>
                <a:gd name="T63" fmla="*/ 589 h 1817"/>
                <a:gd name="T64" fmla="*/ 145 w 1227"/>
                <a:gd name="T65" fmla="*/ 426 h 1817"/>
                <a:gd name="T66" fmla="*/ 35 w 1227"/>
                <a:gd name="T67" fmla="*/ 377 h 1817"/>
                <a:gd name="T68" fmla="*/ 0 w 1227"/>
                <a:gd name="T69" fmla="*/ 142 h 1817"/>
                <a:gd name="T70" fmla="*/ 269 w 1227"/>
                <a:gd name="T71" fmla="*/ 0 h 1817"/>
                <a:gd name="T72" fmla="*/ 594 w 1227"/>
                <a:gd name="T73" fmla="*/ 289 h 1817"/>
                <a:gd name="T74" fmla="*/ 756 w 1227"/>
                <a:gd name="T75" fmla="*/ 427 h 1817"/>
                <a:gd name="T76" fmla="*/ 790 w 1227"/>
                <a:gd name="T77" fmla="*/ 609 h 1817"/>
                <a:gd name="T78" fmla="*/ 1018 w 1227"/>
                <a:gd name="T79" fmla="*/ 690 h 1817"/>
                <a:gd name="T80" fmla="*/ 1112 w 1227"/>
                <a:gd name="T81" fmla="*/ 788 h 1817"/>
                <a:gd name="T82" fmla="*/ 1098 w 1227"/>
                <a:gd name="T83" fmla="*/ 1038 h 1817"/>
                <a:gd name="T84" fmla="*/ 1227 w 1227"/>
                <a:gd name="T85" fmla="*/ 1325 h 1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7" h="1817">
                  <a:moveTo>
                    <a:pt x="1227" y="1325"/>
                  </a:moveTo>
                  <a:lnTo>
                    <a:pt x="1115" y="1412"/>
                  </a:lnTo>
                  <a:lnTo>
                    <a:pt x="1103" y="1618"/>
                  </a:lnTo>
                  <a:lnTo>
                    <a:pt x="1037" y="1610"/>
                  </a:lnTo>
                  <a:lnTo>
                    <a:pt x="983" y="1643"/>
                  </a:lnTo>
                  <a:lnTo>
                    <a:pt x="970" y="1620"/>
                  </a:lnTo>
                  <a:lnTo>
                    <a:pt x="920" y="1621"/>
                  </a:lnTo>
                  <a:lnTo>
                    <a:pt x="891" y="1657"/>
                  </a:lnTo>
                  <a:lnTo>
                    <a:pt x="814" y="1664"/>
                  </a:lnTo>
                  <a:lnTo>
                    <a:pt x="790" y="1708"/>
                  </a:lnTo>
                  <a:lnTo>
                    <a:pt x="740" y="1715"/>
                  </a:lnTo>
                  <a:lnTo>
                    <a:pt x="690" y="1689"/>
                  </a:lnTo>
                  <a:lnTo>
                    <a:pt x="604" y="1730"/>
                  </a:lnTo>
                  <a:lnTo>
                    <a:pt x="575" y="1802"/>
                  </a:lnTo>
                  <a:lnTo>
                    <a:pt x="535" y="1817"/>
                  </a:lnTo>
                  <a:lnTo>
                    <a:pt x="517" y="1710"/>
                  </a:lnTo>
                  <a:lnTo>
                    <a:pt x="524" y="1667"/>
                  </a:lnTo>
                  <a:lnTo>
                    <a:pt x="423" y="1608"/>
                  </a:lnTo>
                  <a:lnTo>
                    <a:pt x="386" y="1552"/>
                  </a:lnTo>
                  <a:lnTo>
                    <a:pt x="386" y="1552"/>
                  </a:lnTo>
                  <a:lnTo>
                    <a:pt x="386" y="1540"/>
                  </a:lnTo>
                  <a:lnTo>
                    <a:pt x="385" y="1530"/>
                  </a:lnTo>
                  <a:lnTo>
                    <a:pt x="384" y="1520"/>
                  </a:lnTo>
                  <a:lnTo>
                    <a:pt x="381" y="1513"/>
                  </a:lnTo>
                  <a:lnTo>
                    <a:pt x="376" y="1498"/>
                  </a:lnTo>
                  <a:lnTo>
                    <a:pt x="369" y="1486"/>
                  </a:lnTo>
                  <a:lnTo>
                    <a:pt x="361" y="1477"/>
                  </a:lnTo>
                  <a:lnTo>
                    <a:pt x="355" y="1468"/>
                  </a:lnTo>
                  <a:lnTo>
                    <a:pt x="348" y="1461"/>
                  </a:lnTo>
                  <a:lnTo>
                    <a:pt x="342" y="1454"/>
                  </a:lnTo>
                  <a:lnTo>
                    <a:pt x="342" y="1454"/>
                  </a:lnTo>
                  <a:lnTo>
                    <a:pt x="340" y="1449"/>
                  </a:lnTo>
                  <a:lnTo>
                    <a:pt x="340" y="1447"/>
                  </a:lnTo>
                  <a:lnTo>
                    <a:pt x="341" y="1445"/>
                  </a:lnTo>
                  <a:lnTo>
                    <a:pt x="345" y="1442"/>
                  </a:lnTo>
                  <a:lnTo>
                    <a:pt x="349" y="1442"/>
                  </a:lnTo>
                  <a:lnTo>
                    <a:pt x="355" y="1442"/>
                  </a:lnTo>
                  <a:lnTo>
                    <a:pt x="369" y="1444"/>
                  </a:lnTo>
                  <a:lnTo>
                    <a:pt x="384" y="1446"/>
                  </a:lnTo>
                  <a:lnTo>
                    <a:pt x="399" y="1449"/>
                  </a:lnTo>
                  <a:lnTo>
                    <a:pt x="423" y="1454"/>
                  </a:lnTo>
                  <a:lnTo>
                    <a:pt x="423" y="1454"/>
                  </a:lnTo>
                  <a:lnTo>
                    <a:pt x="426" y="1454"/>
                  </a:lnTo>
                  <a:lnTo>
                    <a:pt x="429" y="1451"/>
                  </a:lnTo>
                  <a:lnTo>
                    <a:pt x="434" y="1447"/>
                  </a:lnTo>
                  <a:lnTo>
                    <a:pt x="437" y="1442"/>
                  </a:lnTo>
                  <a:lnTo>
                    <a:pt x="440" y="1436"/>
                  </a:lnTo>
                  <a:lnTo>
                    <a:pt x="443" y="1429"/>
                  </a:lnTo>
                  <a:lnTo>
                    <a:pt x="445" y="1420"/>
                  </a:lnTo>
                  <a:lnTo>
                    <a:pt x="447" y="1412"/>
                  </a:lnTo>
                  <a:lnTo>
                    <a:pt x="448" y="1403"/>
                  </a:lnTo>
                  <a:lnTo>
                    <a:pt x="448" y="1396"/>
                  </a:lnTo>
                  <a:lnTo>
                    <a:pt x="447" y="1387"/>
                  </a:lnTo>
                  <a:lnTo>
                    <a:pt x="445" y="1379"/>
                  </a:lnTo>
                  <a:lnTo>
                    <a:pt x="442" y="1371"/>
                  </a:lnTo>
                  <a:lnTo>
                    <a:pt x="436" y="1366"/>
                  </a:lnTo>
                  <a:lnTo>
                    <a:pt x="430" y="1360"/>
                  </a:lnTo>
                  <a:lnTo>
                    <a:pt x="423" y="1355"/>
                  </a:lnTo>
                  <a:lnTo>
                    <a:pt x="423" y="1355"/>
                  </a:lnTo>
                  <a:lnTo>
                    <a:pt x="378" y="1341"/>
                  </a:lnTo>
                  <a:lnTo>
                    <a:pt x="353" y="1331"/>
                  </a:lnTo>
                  <a:lnTo>
                    <a:pt x="328" y="1321"/>
                  </a:lnTo>
                  <a:lnTo>
                    <a:pt x="306" y="1310"/>
                  </a:lnTo>
                  <a:lnTo>
                    <a:pt x="296" y="1303"/>
                  </a:lnTo>
                  <a:lnTo>
                    <a:pt x="287" y="1298"/>
                  </a:lnTo>
                  <a:lnTo>
                    <a:pt x="280" y="1292"/>
                  </a:lnTo>
                  <a:lnTo>
                    <a:pt x="274" y="1285"/>
                  </a:lnTo>
                  <a:lnTo>
                    <a:pt x="271" y="1279"/>
                  </a:lnTo>
                  <a:lnTo>
                    <a:pt x="270" y="1273"/>
                  </a:lnTo>
                  <a:lnTo>
                    <a:pt x="270" y="1273"/>
                  </a:lnTo>
                  <a:lnTo>
                    <a:pt x="270" y="1266"/>
                  </a:lnTo>
                  <a:lnTo>
                    <a:pt x="268" y="1261"/>
                  </a:lnTo>
                  <a:lnTo>
                    <a:pt x="267" y="1255"/>
                  </a:lnTo>
                  <a:lnTo>
                    <a:pt x="263" y="1250"/>
                  </a:lnTo>
                  <a:lnTo>
                    <a:pt x="255" y="1240"/>
                  </a:lnTo>
                  <a:lnTo>
                    <a:pt x="245" y="1230"/>
                  </a:lnTo>
                  <a:lnTo>
                    <a:pt x="233" y="1220"/>
                  </a:lnTo>
                  <a:lnTo>
                    <a:pt x="219" y="1210"/>
                  </a:lnTo>
                  <a:lnTo>
                    <a:pt x="186" y="1189"/>
                  </a:lnTo>
                  <a:lnTo>
                    <a:pt x="186" y="1189"/>
                  </a:lnTo>
                  <a:lnTo>
                    <a:pt x="177" y="1183"/>
                  </a:lnTo>
                  <a:lnTo>
                    <a:pt x="167" y="1173"/>
                  </a:lnTo>
                  <a:lnTo>
                    <a:pt x="158" y="1162"/>
                  </a:lnTo>
                  <a:lnTo>
                    <a:pt x="150" y="1149"/>
                  </a:lnTo>
                  <a:lnTo>
                    <a:pt x="123" y="1095"/>
                  </a:lnTo>
                  <a:lnTo>
                    <a:pt x="148" y="1073"/>
                  </a:lnTo>
                  <a:lnTo>
                    <a:pt x="195" y="1116"/>
                  </a:lnTo>
                  <a:lnTo>
                    <a:pt x="218" y="1009"/>
                  </a:lnTo>
                  <a:lnTo>
                    <a:pt x="147" y="953"/>
                  </a:lnTo>
                  <a:lnTo>
                    <a:pt x="130" y="901"/>
                  </a:lnTo>
                  <a:lnTo>
                    <a:pt x="240" y="906"/>
                  </a:lnTo>
                  <a:lnTo>
                    <a:pt x="243" y="873"/>
                  </a:lnTo>
                  <a:lnTo>
                    <a:pt x="186" y="857"/>
                  </a:lnTo>
                  <a:lnTo>
                    <a:pt x="190" y="831"/>
                  </a:lnTo>
                  <a:lnTo>
                    <a:pt x="78" y="725"/>
                  </a:lnTo>
                  <a:lnTo>
                    <a:pt x="137" y="589"/>
                  </a:lnTo>
                  <a:lnTo>
                    <a:pt x="74" y="556"/>
                  </a:lnTo>
                  <a:lnTo>
                    <a:pt x="76" y="466"/>
                  </a:lnTo>
                  <a:lnTo>
                    <a:pt x="145" y="426"/>
                  </a:lnTo>
                  <a:lnTo>
                    <a:pt x="135" y="390"/>
                  </a:lnTo>
                  <a:lnTo>
                    <a:pt x="92" y="390"/>
                  </a:lnTo>
                  <a:lnTo>
                    <a:pt x="35" y="377"/>
                  </a:lnTo>
                  <a:lnTo>
                    <a:pt x="45" y="294"/>
                  </a:lnTo>
                  <a:lnTo>
                    <a:pt x="8" y="265"/>
                  </a:lnTo>
                  <a:lnTo>
                    <a:pt x="0" y="142"/>
                  </a:lnTo>
                  <a:lnTo>
                    <a:pt x="89" y="88"/>
                  </a:lnTo>
                  <a:lnTo>
                    <a:pt x="185" y="1"/>
                  </a:lnTo>
                  <a:lnTo>
                    <a:pt x="269" y="0"/>
                  </a:lnTo>
                  <a:lnTo>
                    <a:pt x="346" y="23"/>
                  </a:lnTo>
                  <a:lnTo>
                    <a:pt x="423" y="42"/>
                  </a:lnTo>
                  <a:lnTo>
                    <a:pt x="594" y="289"/>
                  </a:lnTo>
                  <a:lnTo>
                    <a:pt x="615" y="382"/>
                  </a:lnTo>
                  <a:lnTo>
                    <a:pt x="676" y="404"/>
                  </a:lnTo>
                  <a:lnTo>
                    <a:pt x="756" y="427"/>
                  </a:lnTo>
                  <a:lnTo>
                    <a:pt x="786" y="496"/>
                  </a:lnTo>
                  <a:lnTo>
                    <a:pt x="754" y="603"/>
                  </a:lnTo>
                  <a:lnTo>
                    <a:pt x="790" y="609"/>
                  </a:lnTo>
                  <a:lnTo>
                    <a:pt x="877" y="592"/>
                  </a:lnTo>
                  <a:lnTo>
                    <a:pt x="974" y="687"/>
                  </a:lnTo>
                  <a:lnTo>
                    <a:pt x="1018" y="690"/>
                  </a:lnTo>
                  <a:lnTo>
                    <a:pt x="1091" y="652"/>
                  </a:lnTo>
                  <a:lnTo>
                    <a:pt x="1135" y="693"/>
                  </a:lnTo>
                  <a:lnTo>
                    <a:pt x="1112" y="788"/>
                  </a:lnTo>
                  <a:lnTo>
                    <a:pt x="1172" y="845"/>
                  </a:lnTo>
                  <a:lnTo>
                    <a:pt x="1097" y="949"/>
                  </a:lnTo>
                  <a:lnTo>
                    <a:pt x="1098" y="1038"/>
                  </a:lnTo>
                  <a:lnTo>
                    <a:pt x="1159" y="1193"/>
                  </a:lnTo>
                  <a:lnTo>
                    <a:pt x="1223" y="1272"/>
                  </a:lnTo>
                  <a:lnTo>
                    <a:pt x="1227" y="1325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3" name="Freeform 320">
              <a:extLst>
                <a:ext uri="{FF2B5EF4-FFF2-40B4-BE49-F238E27FC236}">
                  <a16:creationId xmlns:a16="http://schemas.microsoft.com/office/drawing/2014/main" id="{3B7EC95E-1B77-42A3-B3D2-70075B06F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8038" y="5327650"/>
              <a:ext cx="158750" cy="376238"/>
            </a:xfrm>
            <a:custGeom>
              <a:avLst/>
              <a:gdLst>
                <a:gd name="T0" fmla="*/ 503 w 503"/>
                <a:gd name="T1" fmla="*/ 830 h 1185"/>
                <a:gd name="T2" fmla="*/ 489 w 503"/>
                <a:gd name="T3" fmla="*/ 896 h 1185"/>
                <a:gd name="T4" fmla="*/ 434 w 503"/>
                <a:gd name="T5" fmla="*/ 953 h 1185"/>
                <a:gd name="T6" fmla="*/ 361 w 503"/>
                <a:gd name="T7" fmla="*/ 1066 h 1185"/>
                <a:gd name="T8" fmla="*/ 349 w 503"/>
                <a:gd name="T9" fmla="*/ 1133 h 1185"/>
                <a:gd name="T10" fmla="*/ 269 w 503"/>
                <a:gd name="T11" fmla="*/ 1173 h 1185"/>
                <a:gd name="T12" fmla="*/ 202 w 503"/>
                <a:gd name="T13" fmla="*/ 1185 h 1185"/>
                <a:gd name="T14" fmla="*/ 190 w 503"/>
                <a:gd name="T15" fmla="*/ 1178 h 1185"/>
                <a:gd name="T16" fmla="*/ 199 w 503"/>
                <a:gd name="T17" fmla="*/ 1155 h 1185"/>
                <a:gd name="T18" fmla="*/ 181 w 503"/>
                <a:gd name="T19" fmla="*/ 1110 h 1185"/>
                <a:gd name="T20" fmla="*/ 136 w 503"/>
                <a:gd name="T21" fmla="*/ 1072 h 1185"/>
                <a:gd name="T22" fmla="*/ 72 w 503"/>
                <a:gd name="T23" fmla="*/ 1044 h 1185"/>
                <a:gd name="T24" fmla="*/ 39 w 503"/>
                <a:gd name="T25" fmla="*/ 988 h 1185"/>
                <a:gd name="T26" fmla="*/ 35 w 503"/>
                <a:gd name="T27" fmla="*/ 969 h 1185"/>
                <a:gd name="T28" fmla="*/ 1 w 503"/>
                <a:gd name="T29" fmla="*/ 920 h 1185"/>
                <a:gd name="T30" fmla="*/ 10 w 503"/>
                <a:gd name="T31" fmla="*/ 905 h 1185"/>
                <a:gd name="T32" fmla="*/ 42 w 503"/>
                <a:gd name="T33" fmla="*/ 927 h 1185"/>
                <a:gd name="T34" fmla="*/ 38 w 503"/>
                <a:gd name="T35" fmla="*/ 898 h 1185"/>
                <a:gd name="T36" fmla="*/ 40 w 503"/>
                <a:gd name="T37" fmla="*/ 885 h 1185"/>
                <a:gd name="T38" fmla="*/ 18 w 503"/>
                <a:gd name="T39" fmla="*/ 876 h 1185"/>
                <a:gd name="T40" fmla="*/ 0 w 503"/>
                <a:gd name="T41" fmla="*/ 848 h 1185"/>
                <a:gd name="T42" fmla="*/ 0 w 503"/>
                <a:gd name="T43" fmla="*/ 812 h 1185"/>
                <a:gd name="T44" fmla="*/ 25 w 503"/>
                <a:gd name="T45" fmla="*/ 779 h 1185"/>
                <a:gd name="T46" fmla="*/ 42 w 503"/>
                <a:gd name="T47" fmla="*/ 752 h 1185"/>
                <a:gd name="T48" fmla="*/ 48 w 503"/>
                <a:gd name="T49" fmla="*/ 707 h 1185"/>
                <a:gd name="T50" fmla="*/ 53 w 503"/>
                <a:gd name="T51" fmla="*/ 678 h 1185"/>
                <a:gd name="T52" fmla="*/ 29 w 503"/>
                <a:gd name="T53" fmla="*/ 653 h 1185"/>
                <a:gd name="T54" fmla="*/ 56 w 503"/>
                <a:gd name="T55" fmla="*/ 626 h 1185"/>
                <a:gd name="T56" fmla="*/ 36 w 503"/>
                <a:gd name="T57" fmla="*/ 586 h 1185"/>
                <a:gd name="T58" fmla="*/ 27 w 503"/>
                <a:gd name="T59" fmla="*/ 566 h 1185"/>
                <a:gd name="T60" fmla="*/ 47 w 503"/>
                <a:gd name="T61" fmla="*/ 553 h 1185"/>
                <a:gd name="T62" fmla="*/ 30 w 503"/>
                <a:gd name="T63" fmla="*/ 509 h 1185"/>
                <a:gd name="T64" fmla="*/ 42 w 503"/>
                <a:gd name="T65" fmla="*/ 487 h 1185"/>
                <a:gd name="T66" fmla="*/ 82 w 503"/>
                <a:gd name="T67" fmla="*/ 438 h 1185"/>
                <a:gd name="T68" fmla="*/ 67 w 503"/>
                <a:gd name="T69" fmla="*/ 416 h 1185"/>
                <a:gd name="T70" fmla="*/ 36 w 503"/>
                <a:gd name="T71" fmla="*/ 407 h 1185"/>
                <a:gd name="T72" fmla="*/ 10 w 503"/>
                <a:gd name="T73" fmla="*/ 266 h 1185"/>
                <a:gd name="T74" fmla="*/ 63 w 503"/>
                <a:gd name="T75" fmla="*/ 130 h 1185"/>
                <a:gd name="T76" fmla="*/ 72 w 503"/>
                <a:gd name="T77" fmla="*/ 53 h 1185"/>
                <a:gd name="T78" fmla="*/ 112 w 503"/>
                <a:gd name="T79" fmla="*/ 0 h 1185"/>
                <a:gd name="T80" fmla="*/ 135 w 503"/>
                <a:gd name="T81" fmla="*/ 17 h 1185"/>
                <a:gd name="T82" fmla="*/ 142 w 503"/>
                <a:gd name="T83" fmla="*/ 53 h 1185"/>
                <a:gd name="T84" fmla="*/ 222 w 503"/>
                <a:gd name="T85" fmla="*/ 65 h 1185"/>
                <a:gd name="T86" fmla="*/ 229 w 503"/>
                <a:gd name="T87" fmla="*/ 66 h 1185"/>
                <a:gd name="T88" fmla="*/ 234 w 503"/>
                <a:gd name="T89" fmla="*/ 60 h 1185"/>
                <a:gd name="T90" fmla="*/ 249 w 503"/>
                <a:gd name="T91" fmla="*/ 49 h 1185"/>
                <a:gd name="T92" fmla="*/ 258 w 503"/>
                <a:gd name="T93" fmla="*/ 62 h 1185"/>
                <a:gd name="T94" fmla="*/ 259 w 503"/>
                <a:gd name="T95" fmla="*/ 65 h 1185"/>
                <a:gd name="T96" fmla="*/ 296 w 503"/>
                <a:gd name="T97" fmla="*/ 121 h 1185"/>
                <a:gd name="T98" fmla="*/ 397 w 503"/>
                <a:gd name="T99" fmla="*/ 180 h 1185"/>
                <a:gd name="T100" fmla="*/ 390 w 503"/>
                <a:gd name="T101" fmla="*/ 223 h 1185"/>
                <a:gd name="T102" fmla="*/ 408 w 503"/>
                <a:gd name="T103" fmla="*/ 330 h 1185"/>
                <a:gd name="T104" fmla="*/ 376 w 503"/>
                <a:gd name="T105" fmla="*/ 502 h 1185"/>
                <a:gd name="T106" fmla="*/ 414 w 503"/>
                <a:gd name="T107" fmla="*/ 632 h 1185"/>
                <a:gd name="T108" fmla="*/ 492 w 503"/>
                <a:gd name="T109" fmla="*/ 730 h 1185"/>
                <a:gd name="T110" fmla="*/ 503 w 503"/>
                <a:gd name="T111" fmla="*/ 830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3" h="1185">
                  <a:moveTo>
                    <a:pt x="503" y="830"/>
                  </a:moveTo>
                  <a:lnTo>
                    <a:pt x="489" y="896"/>
                  </a:lnTo>
                  <a:lnTo>
                    <a:pt x="434" y="953"/>
                  </a:lnTo>
                  <a:lnTo>
                    <a:pt x="361" y="1066"/>
                  </a:lnTo>
                  <a:lnTo>
                    <a:pt x="349" y="1133"/>
                  </a:lnTo>
                  <a:lnTo>
                    <a:pt x="269" y="1173"/>
                  </a:lnTo>
                  <a:lnTo>
                    <a:pt x="202" y="1185"/>
                  </a:lnTo>
                  <a:lnTo>
                    <a:pt x="190" y="1178"/>
                  </a:lnTo>
                  <a:lnTo>
                    <a:pt x="199" y="1155"/>
                  </a:lnTo>
                  <a:lnTo>
                    <a:pt x="181" y="1110"/>
                  </a:lnTo>
                  <a:lnTo>
                    <a:pt x="136" y="1072"/>
                  </a:lnTo>
                  <a:lnTo>
                    <a:pt x="72" y="1044"/>
                  </a:lnTo>
                  <a:lnTo>
                    <a:pt x="39" y="988"/>
                  </a:lnTo>
                  <a:lnTo>
                    <a:pt x="35" y="969"/>
                  </a:lnTo>
                  <a:lnTo>
                    <a:pt x="1" y="920"/>
                  </a:lnTo>
                  <a:lnTo>
                    <a:pt x="10" y="905"/>
                  </a:lnTo>
                  <a:lnTo>
                    <a:pt x="42" y="927"/>
                  </a:lnTo>
                  <a:lnTo>
                    <a:pt x="38" y="898"/>
                  </a:lnTo>
                  <a:lnTo>
                    <a:pt x="40" y="885"/>
                  </a:lnTo>
                  <a:lnTo>
                    <a:pt x="18" y="876"/>
                  </a:lnTo>
                  <a:lnTo>
                    <a:pt x="0" y="848"/>
                  </a:lnTo>
                  <a:lnTo>
                    <a:pt x="0" y="812"/>
                  </a:lnTo>
                  <a:lnTo>
                    <a:pt x="25" y="779"/>
                  </a:lnTo>
                  <a:lnTo>
                    <a:pt x="42" y="752"/>
                  </a:lnTo>
                  <a:lnTo>
                    <a:pt x="48" y="707"/>
                  </a:lnTo>
                  <a:lnTo>
                    <a:pt x="53" y="678"/>
                  </a:lnTo>
                  <a:lnTo>
                    <a:pt x="29" y="653"/>
                  </a:lnTo>
                  <a:lnTo>
                    <a:pt x="56" y="626"/>
                  </a:lnTo>
                  <a:lnTo>
                    <a:pt x="36" y="586"/>
                  </a:lnTo>
                  <a:lnTo>
                    <a:pt x="27" y="566"/>
                  </a:lnTo>
                  <a:lnTo>
                    <a:pt x="47" y="553"/>
                  </a:lnTo>
                  <a:lnTo>
                    <a:pt x="30" y="509"/>
                  </a:lnTo>
                  <a:lnTo>
                    <a:pt x="42" y="487"/>
                  </a:lnTo>
                  <a:lnTo>
                    <a:pt x="82" y="438"/>
                  </a:lnTo>
                  <a:lnTo>
                    <a:pt x="67" y="416"/>
                  </a:lnTo>
                  <a:lnTo>
                    <a:pt x="36" y="407"/>
                  </a:lnTo>
                  <a:lnTo>
                    <a:pt x="10" y="266"/>
                  </a:lnTo>
                  <a:lnTo>
                    <a:pt x="63" y="130"/>
                  </a:lnTo>
                  <a:lnTo>
                    <a:pt x="72" y="53"/>
                  </a:lnTo>
                  <a:lnTo>
                    <a:pt x="112" y="0"/>
                  </a:lnTo>
                  <a:lnTo>
                    <a:pt x="135" y="17"/>
                  </a:lnTo>
                  <a:lnTo>
                    <a:pt x="142" y="53"/>
                  </a:lnTo>
                  <a:lnTo>
                    <a:pt x="222" y="65"/>
                  </a:lnTo>
                  <a:lnTo>
                    <a:pt x="229" y="66"/>
                  </a:lnTo>
                  <a:lnTo>
                    <a:pt x="234" y="60"/>
                  </a:lnTo>
                  <a:lnTo>
                    <a:pt x="249" y="49"/>
                  </a:lnTo>
                  <a:lnTo>
                    <a:pt x="258" y="62"/>
                  </a:lnTo>
                  <a:lnTo>
                    <a:pt x="259" y="65"/>
                  </a:lnTo>
                  <a:lnTo>
                    <a:pt x="296" y="121"/>
                  </a:lnTo>
                  <a:lnTo>
                    <a:pt x="397" y="180"/>
                  </a:lnTo>
                  <a:lnTo>
                    <a:pt x="390" y="223"/>
                  </a:lnTo>
                  <a:lnTo>
                    <a:pt x="408" y="330"/>
                  </a:lnTo>
                  <a:lnTo>
                    <a:pt x="376" y="502"/>
                  </a:lnTo>
                  <a:lnTo>
                    <a:pt x="414" y="632"/>
                  </a:lnTo>
                  <a:lnTo>
                    <a:pt x="492" y="730"/>
                  </a:lnTo>
                  <a:lnTo>
                    <a:pt x="503" y="830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4" name="Freeform 321">
              <a:extLst>
                <a:ext uri="{FF2B5EF4-FFF2-40B4-BE49-F238E27FC236}">
                  <a16:creationId xmlns:a16="http://schemas.microsoft.com/office/drawing/2014/main" id="{C648A6C5-2497-4C84-8BC8-E7ACA03B6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4663" y="4992688"/>
              <a:ext cx="369888" cy="349250"/>
            </a:xfrm>
            <a:custGeom>
              <a:avLst/>
              <a:gdLst>
                <a:gd name="T0" fmla="*/ 1052 w 1165"/>
                <a:gd name="T1" fmla="*/ 466 h 1099"/>
                <a:gd name="T2" fmla="*/ 1140 w 1165"/>
                <a:gd name="T3" fmla="*/ 574 h 1099"/>
                <a:gd name="T4" fmla="*/ 1070 w 1165"/>
                <a:gd name="T5" fmla="*/ 638 h 1099"/>
                <a:gd name="T6" fmla="*/ 1043 w 1165"/>
                <a:gd name="T7" fmla="*/ 662 h 1099"/>
                <a:gd name="T8" fmla="*/ 1020 w 1165"/>
                <a:gd name="T9" fmla="*/ 682 h 1099"/>
                <a:gd name="T10" fmla="*/ 965 w 1165"/>
                <a:gd name="T11" fmla="*/ 699 h 1099"/>
                <a:gd name="T12" fmla="*/ 991 w 1165"/>
                <a:gd name="T13" fmla="*/ 768 h 1099"/>
                <a:gd name="T14" fmla="*/ 935 w 1165"/>
                <a:gd name="T15" fmla="*/ 729 h 1099"/>
                <a:gd name="T16" fmla="*/ 902 w 1165"/>
                <a:gd name="T17" fmla="*/ 770 h 1099"/>
                <a:gd name="T18" fmla="*/ 894 w 1165"/>
                <a:gd name="T19" fmla="*/ 782 h 1099"/>
                <a:gd name="T20" fmla="*/ 894 w 1165"/>
                <a:gd name="T21" fmla="*/ 788 h 1099"/>
                <a:gd name="T22" fmla="*/ 904 w 1165"/>
                <a:gd name="T23" fmla="*/ 812 h 1099"/>
                <a:gd name="T24" fmla="*/ 916 w 1165"/>
                <a:gd name="T25" fmla="*/ 836 h 1099"/>
                <a:gd name="T26" fmla="*/ 806 w 1165"/>
                <a:gd name="T27" fmla="*/ 953 h 1099"/>
                <a:gd name="T28" fmla="*/ 834 w 1165"/>
                <a:gd name="T29" fmla="*/ 1045 h 1099"/>
                <a:gd name="T30" fmla="*/ 767 w 1165"/>
                <a:gd name="T31" fmla="*/ 1025 h 1099"/>
                <a:gd name="T32" fmla="*/ 633 w 1165"/>
                <a:gd name="T33" fmla="*/ 927 h 1099"/>
                <a:gd name="T34" fmla="*/ 548 w 1165"/>
                <a:gd name="T35" fmla="*/ 957 h 1099"/>
                <a:gd name="T36" fmla="*/ 546 w 1165"/>
                <a:gd name="T37" fmla="*/ 919 h 1099"/>
                <a:gd name="T38" fmla="*/ 556 w 1165"/>
                <a:gd name="T39" fmla="*/ 845 h 1099"/>
                <a:gd name="T40" fmla="*/ 434 w 1165"/>
                <a:gd name="T41" fmla="*/ 710 h 1099"/>
                <a:gd name="T42" fmla="*/ 329 w 1165"/>
                <a:gd name="T43" fmla="*/ 578 h 1099"/>
                <a:gd name="T44" fmla="*/ 171 w 1165"/>
                <a:gd name="T45" fmla="*/ 338 h 1099"/>
                <a:gd name="T46" fmla="*/ 0 w 1165"/>
                <a:gd name="T47" fmla="*/ 150 h 1099"/>
                <a:gd name="T48" fmla="*/ 54 w 1165"/>
                <a:gd name="T49" fmla="*/ 0 h 1099"/>
                <a:gd name="T50" fmla="*/ 112 w 1165"/>
                <a:gd name="T51" fmla="*/ 103 h 1099"/>
                <a:gd name="T52" fmla="*/ 205 w 1165"/>
                <a:gd name="T53" fmla="*/ 45 h 1099"/>
                <a:gd name="T54" fmla="*/ 345 w 1165"/>
                <a:gd name="T55" fmla="*/ 20 h 1099"/>
                <a:gd name="T56" fmla="*/ 536 w 1165"/>
                <a:gd name="T57" fmla="*/ 68 h 1099"/>
                <a:gd name="T58" fmla="*/ 852 w 1165"/>
                <a:gd name="T59" fmla="*/ 96 h 1099"/>
                <a:gd name="T60" fmla="*/ 936 w 1165"/>
                <a:gd name="T61" fmla="*/ 184 h 1099"/>
                <a:gd name="T62" fmla="*/ 1059 w 1165"/>
                <a:gd name="T63" fmla="*/ 154 h 1099"/>
                <a:gd name="T64" fmla="*/ 1112 w 1165"/>
                <a:gd name="T65" fmla="*/ 396 h 1099"/>
                <a:gd name="T66" fmla="*/ 1165 w 1165"/>
                <a:gd name="T67" fmla="*/ 438 h 1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65" h="1099">
                  <a:moveTo>
                    <a:pt x="1162" y="471"/>
                  </a:moveTo>
                  <a:lnTo>
                    <a:pt x="1052" y="466"/>
                  </a:lnTo>
                  <a:lnTo>
                    <a:pt x="1069" y="518"/>
                  </a:lnTo>
                  <a:lnTo>
                    <a:pt x="1140" y="574"/>
                  </a:lnTo>
                  <a:lnTo>
                    <a:pt x="1117" y="681"/>
                  </a:lnTo>
                  <a:lnTo>
                    <a:pt x="1070" y="638"/>
                  </a:lnTo>
                  <a:lnTo>
                    <a:pt x="1044" y="661"/>
                  </a:lnTo>
                  <a:lnTo>
                    <a:pt x="1043" y="662"/>
                  </a:lnTo>
                  <a:lnTo>
                    <a:pt x="1043" y="662"/>
                  </a:lnTo>
                  <a:lnTo>
                    <a:pt x="1020" y="682"/>
                  </a:lnTo>
                  <a:lnTo>
                    <a:pt x="970" y="652"/>
                  </a:lnTo>
                  <a:lnTo>
                    <a:pt x="965" y="699"/>
                  </a:lnTo>
                  <a:lnTo>
                    <a:pt x="1018" y="724"/>
                  </a:lnTo>
                  <a:lnTo>
                    <a:pt x="991" y="768"/>
                  </a:lnTo>
                  <a:lnTo>
                    <a:pt x="935" y="729"/>
                  </a:lnTo>
                  <a:lnTo>
                    <a:pt x="935" y="729"/>
                  </a:lnTo>
                  <a:lnTo>
                    <a:pt x="916" y="752"/>
                  </a:lnTo>
                  <a:lnTo>
                    <a:pt x="902" y="770"/>
                  </a:lnTo>
                  <a:lnTo>
                    <a:pt x="898" y="777"/>
                  </a:lnTo>
                  <a:lnTo>
                    <a:pt x="894" y="782"/>
                  </a:lnTo>
                  <a:lnTo>
                    <a:pt x="894" y="782"/>
                  </a:lnTo>
                  <a:lnTo>
                    <a:pt x="894" y="788"/>
                  </a:lnTo>
                  <a:lnTo>
                    <a:pt x="897" y="795"/>
                  </a:lnTo>
                  <a:lnTo>
                    <a:pt x="904" y="812"/>
                  </a:lnTo>
                  <a:lnTo>
                    <a:pt x="912" y="828"/>
                  </a:lnTo>
                  <a:lnTo>
                    <a:pt x="916" y="836"/>
                  </a:lnTo>
                  <a:lnTo>
                    <a:pt x="889" y="846"/>
                  </a:lnTo>
                  <a:lnTo>
                    <a:pt x="806" y="953"/>
                  </a:lnTo>
                  <a:lnTo>
                    <a:pt x="830" y="998"/>
                  </a:lnTo>
                  <a:lnTo>
                    <a:pt x="834" y="1045"/>
                  </a:lnTo>
                  <a:lnTo>
                    <a:pt x="814" y="1099"/>
                  </a:lnTo>
                  <a:lnTo>
                    <a:pt x="767" y="1025"/>
                  </a:lnTo>
                  <a:lnTo>
                    <a:pt x="687" y="1006"/>
                  </a:lnTo>
                  <a:lnTo>
                    <a:pt x="633" y="927"/>
                  </a:lnTo>
                  <a:lnTo>
                    <a:pt x="586" y="932"/>
                  </a:lnTo>
                  <a:lnTo>
                    <a:pt x="548" y="957"/>
                  </a:lnTo>
                  <a:lnTo>
                    <a:pt x="521" y="942"/>
                  </a:lnTo>
                  <a:lnTo>
                    <a:pt x="546" y="919"/>
                  </a:lnTo>
                  <a:lnTo>
                    <a:pt x="559" y="905"/>
                  </a:lnTo>
                  <a:lnTo>
                    <a:pt x="556" y="845"/>
                  </a:lnTo>
                  <a:lnTo>
                    <a:pt x="458" y="760"/>
                  </a:lnTo>
                  <a:lnTo>
                    <a:pt x="434" y="710"/>
                  </a:lnTo>
                  <a:lnTo>
                    <a:pt x="381" y="674"/>
                  </a:lnTo>
                  <a:lnTo>
                    <a:pt x="329" y="578"/>
                  </a:lnTo>
                  <a:lnTo>
                    <a:pt x="169" y="440"/>
                  </a:lnTo>
                  <a:lnTo>
                    <a:pt x="171" y="338"/>
                  </a:lnTo>
                  <a:lnTo>
                    <a:pt x="138" y="331"/>
                  </a:lnTo>
                  <a:lnTo>
                    <a:pt x="0" y="150"/>
                  </a:lnTo>
                  <a:lnTo>
                    <a:pt x="5" y="10"/>
                  </a:lnTo>
                  <a:lnTo>
                    <a:pt x="54" y="0"/>
                  </a:lnTo>
                  <a:lnTo>
                    <a:pt x="89" y="79"/>
                  </a:lnTo>
                  <a:lnTo>
                    <a:pt x="112" y="103"/>
                  </a:lnTo>
                  <a:lnTo>
                    <a:pt x="176" y="105"/>
                  </a:lnTo>
                  <a:lnTo>
                    <a:pt x="205" y="45"/>
                  </a:lnTo>
                  <a:lnTo>
                    <a:pt x="248" y="21"/>
                  </a:lnTo>
                  <a:lnTo>
                    <a:pt x="345" y="20"/>
                  </a:lnTo>
                  <a:lnTo>
                    <a:pt x="478" y="22"/>
                  </a:lnTo>
                  <a:lnTo>
                    <a:pt x="536" y="68"/>
                  </a:lnTo>
                  <a:lnTo>
                    <a:pt x="682" y="25"/>
                  </a:lnTo>
                  <a:lnTo>
                    <a:pt x="852" y="96"/>
                  </a:lnTo>
                  <a:lnTo>
                    <a:pt x="886" y="145"/>
                  </a:lnTo>
                  <a:lnTo>
                    <a:pt x="936" y="184"/>
                  </a:lnTo>
                  <a:lnTo>
                    <a:pt x="996" y="121"/>
                  </a:lnTo>
                  <a:lnTo>
                    <a:pt x="1059" y="154"/>
                  </a:lnTo>
                  <a:lnTo>
                    <a:pt x="1000" y="290"/>
                  </a:lnTo>
                  <a:lnTo>
                    <a:pt x="1112" y="396"/>
                  </a:lnTo>
                  <a:lnTo>
                    <a:pt x="1108" y="422"/>
                  </a:lnTo>
                  <a:lnTo>
                    <a:pt x="1165" y="438"/>
                  </a:lnTo>
                  <a:lnTo>
                    <a:pt x="1162" y="471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5" name="Freeform 322">
              <a:extLst>
                <a:ext uri="{FF2B5EF4-FFF2-40B4-BE49-F238E27FC236}">
                  <a16:creationId xmlns:a16="http://schemas.microsoft.com/office/drawing/2014/main" id="{FAEE7BFF-7A42-4A50-93EC-A79E90881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250" y="5200650"/>
              <a:ext cx="179388" cy="255588"/>
            </a:xfrm>
            <a:custGeom>
              <a:avLst/>
              <a:gdLst>
                <a:gd name="T0" fmla="*/ 539 w 564"/>
                <a:gd name="T1" fmla="*/ 367 h 807"/>
                <a:gd name="T2" fmla="*/ 500 w 564"/>
                <a:gd name="T3" fmla="*/ 359 h 807"/>
                <a:gd name="T4" fmla="*/ 471 w 564"/>
                <a:gd name="T5" fmla="*/ 355 h 807"/>
                <a:gd name="T6" fmla="*/ 461 w 564"/>
                <a:gd name="T7" fmla="*/ 355 h 807"/>
                <a:gd name="T8" fmla="*/ 456 w 564"/>
                <a:gd name="T9" fmla="*/ 360 h 807"/>
                <a:gd name="T10" fmla="*/ 458 w 564"/>
                <a:gd name="T11" fmla="*/ 367 h 807"/>
                <a:gd name="T12" fmla="*/ 464 w 564"/>
                <a:gd name="T13" fmla="*/ 374 h 807"/>
                <a:gd name="T14" fmla="*/ 477 w 564"/>
                <a:gd name="T15" fmla="*/ 390 h 807"/>
                <a:gd name="T16" fmla="*/ 492 w 564"/>
                <a:gd name="T17" fmla="*/ 411 h 807"/>
                <a:gd name="T18" fmla="*/ 500 w 564"/>
                <a:gd name="T19" fmla="*/ 433 h 807"/>
                <a:gd name="T20" fmla="*/ 502 w 564"/>
                <a:gd name="T21" fmla="*/ 453 h 807"/>
                <a:gd name="T22" fmla="*/ 492 w 564"/>
                <a:gd name="T23" fmla="*/ 449 h 807"/>
                <a:gd name="T24" fmla="*/ 465 w 564"/>
                <a:gd name="T25" fmla="*/ 465 h 807"/>
                <a:gd name="T26" fmla="*/ 378 w 564"/>
                <a:gd name="T27" fmla="*/ 417 h 807"/>
                <a:gd name="T28" fmla="*/ 315 w 564"/>
                <a:gd name="T29" fmla="*/ 453 h 807"/>
                <a:gd name="T30" fmla="*/ 253 w 564"/>
                <a:gd name="T31" fmla="*/ 666 h 807"/>
                <a:gd name="T32" fmla="*/ 249 w 564"/>
                <a:gd name="T33" fmla="*/ 807 h 807"/>
                <a:gd name="T34" fmla="*/ 232 w 564"/>
                <a:gd name="T35" fmla="*/ 743 h 807"/>
                <a:gd name="T36" fmla="*/ 103 w 564"/>
                <a:gd name="T37" fmla="*/ 636 h 807"/>
                <a:gd name="T38" fmla="*/ 28 w 564"/>
                <a:gd name="T39" fmla="*/ 597 h 807"/>
                <a:gd name="T40" fmla="*/ 37 w 564"/>
                <a:gd name="T41" fmla="*/ 575 h 807"/>
                <a:gd name="T42" fmla="*/ 57 w 564"/>
                <a:gd name="T43" fmla="*/ 541 h 807"/>
                <a:gd name="T44" fmla="*/ 8 w 564"/>
                <a:gd name="T45" fmla="*/ 447 h 807"/>
                <a:gd name="T46" fmla="*/ 24 w 564"/>
                <a:gd name="T47" fmla="*/ 346 h 807"/>
                <a:gd name="T48" fmla="*/ 83 w 564"/>
                <a:gd name="T49" fmla="*/ 194 h 807"/>
                <a:gd name="T50" fmla="*/ 110 w 564"/>
                <a:gd name="T51" fmla="*/ 184 h 807"/>
                <a:gd name="T52" fmla="*/ 98 w 564"/>
                <a:gd name="T53" fmla="*/ 160 h 807"/>
                <a:gd name="T54" fmla="*/ 88 w 564"/>
                <a:gd name="T55" fmla="*/ 136 h 807"/>
                <a:gd name="T56" fmla="*/ 88 w 564"/>
                <a:gd name="T57" fmla="*/ 130 h 807"/>
                <a:gd name="T58" fmla="*/ 96 w 564"/>
                <a:gd name="T59" fmla="*/ 118 h 807"/>
                <a:gd name="T60" fmla="*/ 129 w 564"/>
                <a:gd name="T61" fmla="*/ 77 h 807"/>
                <a:gd name="T62" fmla="*/ 212 w 564"/>
                <a:gd name="T63" fmla="*/ 72 h 807"/>
                <a:gd name="T64" fmla="*/ 164 w 564"/>
                <a:gd name="T65" fmla="*/ 0 h 807"/>
                <a:gd name="T66" fmla="*/ 237 w 564"/>
                <a:gd name="T67" fmla="*/ 10 h 807"/>
                <a:gd name="T68" fmla="*/ 266 w 564"/>
                <a:gd name="T69" fmla="*/ 62 h 807"/>
                <a:gd name="T70" fmla="*/ 274 w 564"/>
                <a:gd name="T71" fmla="*/ 75 h 807"/>
                <a:gd name="T72" fmla="*/ 293 w 564"/>
                <a:gd name="T73" fmla="*/ 96 h 807"/>
                <a:gd name="T74" fmla="*/ 302 w 564"/>
                <a:gd name="T75" fmla="*/ 102 h 807"/>
                <a:gd name="T76" fmla="*/ 349 w 564"/>
                <a:gd name="T77" fmla="*/ 133 h 807"/>
                <a:gd name="T78" fmla="*/ 371 w 564"/>
                <a:gd name="T79" fmla="*/ 153 h 807"/>
                <a:gd name="T80" fmla="*/ 383 w 564"/>
                <a:gd name="T81" fmla="*/ 168 h 807"/>
                <a:gd name="T82" fmla="*/ 386 w 564"/>
                <a:gd name="T83" fmla="*/ 179 h 807"/>
                <a:gd name="T84" fmla="*/ 386 w 564"/>
                <a:gd name="T85" fmla="*/ 186 h 807"/>
                <a:gd name="T86" fmla="*/ 390 w 564"/>
                <a:gd name="T87" fmla="*/ 198 h 807"/>
                <a:gd name="T88" fmla="*/ 403 w 564"/>
                <a:gd name="T89" fmla="*/ 211 h 807"/>
                <a:gd name="T90" fmla="*/ 422 w 564"/>
                <a:gd name="T91" fmla="*/ 223 h 807"/>
                <a:gd name="T92" fmla="*/ 469 w 564"/>
                <a:gd name="T93" fmla="*/ 244 h 807"/>
                <a:gd name="T94" fmla="*/ 539 w 564"/>
                <a:gd name="T95" fmla="*/ 268 h 807"/>
                <a:gd name="T96" fmla="*/ 546 w 564"/>
                <a:gd name="T97" fmla="*/ 273 h 807"/>
                <a:gd name="T98" fmla="*/ 558 w 564"/>
                <a:gd name="T99" fmla="*/ 284 h 807"/>
                <a:gd name="T100" fmla="*/ 563 w 564"/>
                <a:gd name="T101" fmla="*/ 300 h 807"/>
                <a:gd name="T102" fmla="*/ 564 w 564"/>
                <a:gd name="T103" fmla="*/ 316 h 807"/>
                <a:gd name="T104" fmla="*/ 561 w 564"/>
                <a:gd name="T105" fmla="*/ 333 h 807"/>
                <a:gd name="T106" fmla="*/ 556 w 564"/>
                <a:gd name="T107" fmla="*/ 349 h 807"/>
                <a:gd name="T108" fmla="*/ 550 w 564"/>
                <a:gd name="T109" fmla="*/ 360 h 807"/>
                <a:gd name="T110" fmla="*/ 542 w 564"/>
                <a:gd name="T111" fmla="*/ 367 h 807"/>
                <a:gd name="T112" fmla="*/ 539 w 564"/>
                <a:gd name="T113" fmla="*/ 367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64" h="807">
                  <a:moveTo>
                    <a:pt x="539" y="367"/>
                  </a:moveTo>
                  <a:lnTo>
                    <a:pt x="539" y="367"/>
                  </a:lnTo>
                  <a:lnTo>
                    <a:pt x="515" y="362"/>
                  </a:lnTo>
                  <a:lnTo>
                    <a:pt x="500" y="359"/>
                  </a:lnTo>
                  <a:lnTo>
                    <a:pt x="485" y="357"/>
                  </a:lnTo>
                  <a:lnTo>
                    <a:pt x="471" y="355"/>
                  </a:lnTo>
                  <a:lnTo>
                    <a:pt x="465" y="355"/>
                  </a:lnTo>
                  <a:lnTo>
                    <a:pt x="461" y="355"/>
                  </a:lnTo>
                  <a:lnTo>
                    <a:pt x="457" y="358"/>
                  </a:lnTo>
                  <a:lnTo>
                    <a:pt x="456" y="360"/>
                  </a:lnTo>
                  <a:lnTo>
                    <a:pt x="456" y="362"/>
                  </a:lnTo>
                  <a:lnTo>
                    <a:pt x="458" y="367"/>
                  </a:lnTo>
                  <a:lnTo>
                    <a:pt x="458" y="367"/>
                  </a:lnTo>
                  <a:lnTo>
                    <a:pt x="464" y="374"/>
                  </a:lnTo>
                  <a:lnTo>
                    <a:pt x="471" y="381"/>
                  </a:lnTo>
                  <a:lnTo>
                    <a:pt x="477" y="390"/>
                  </a:lnTo>
                  <a:lnTo>
                    <a:pt x="485" y="399"/>
                  </a:lnTo>
                  <a:lnTo>
                    <a:pt x="492" y="411"/>
                  </a:lnTo>
                  <a:lnTo>
                    <a:pt x="497" y="426"/>
                  </a:lnTo>
                  <a:lnTo>
                    <a:pt x="500" y="433"/>
                  </a:lnTo>
                  <a:lnTo>
                    <a:pt x="501" y="443"/>
                  </a:lnTo>
                  <a:lnTo>
                    <a:pt x="502" y="453"/>
                  </a:lnTo>
                  <a:lnTo>
                    <a:pt x="502" y="465"/>
                  </a:lnTo>
                  <a:lnTo>
                    <a:pt x="492" y="449"/>
                  </a:lnTo>
                  <a:lnTo>
                    <a:pt x="472" y="466"/>
                  </a:lnTo>
                  <a:lnTo>
                    <a:pt x="465" y="465"/>
                  </a:lnTo>
                  <a:lnTo>
                    <a:pt x="385" y="453"/>
                  </a:lnTo>
                  <a:lnTo>
                    <a:pt x="378" y="417"/>
                  </a:lnTo>
                  <a:lnTo>
                    <a:pt x="355" y="400"/>
                  </a:lnTo>
                  <a:lnTo>
                    <a:pt x="315" y="453"/>
                  </a:lnTo>
                  <a:lnTo>
                    <a:pt x="306" y="530"/>
                  </a:lnTo>
                  <a:lnTo>
                    <a:pt x="253" y="666"/>
                  </a:lnTo>
                  <a:lnTo>
                    <a:pt x="279" y="807"/>
                  </a:lnTo>
                  <a:lnTo>
                    <a:pt x="249" y="807"/>
                  </a:lnTo>
                  <a:lnTo>
                    <a:pt x="237" y="783"/>
                  </a:lnTo>
                  <a:lnTo>
                    <a:pt x="232" y="743"/>
                  </a:lnTo>
                  <a:lnTo>
                    <a:pt x="176" y="675"/>
                  </a:lnTo>
                  <a:lnTo>
                    <a:pt x="103" y="636"/>
                  </a:lnTo>
                  <a:lnTo>
                    <a:pt x="73" y="603"/>
                  </a:lnTo>
                  <a:lnTo>
                    <a:pt x="28" y="597"/>
                  </a:lnTo>
                  <a:lnTo>
                    <a:pt x="15" y="568"/>
                  </a:lnTo>
                  <a:lnTo>
                    <a:pt x="37" y="575"/>
                  </a:lnTo>
                  <a:lnTo>
                    <a:pt x="55" y="569"/>
                  </a:lnTo>
                  <a:lnTo>
                    <a:pt x="57" y="541"/>
                  </a:lnTo>
                  <a:lnTo>
                    <a:pt x="25" y="524"/>
                  </a:lnTo>
                  <a:lnTo>
                    <a:pt x="8" y="447"/>
                  </a:lnTo>
                  <a:lnTo>
                    <a:pt x="28" y="393"/>
                  </a:lnTo>
                  <a:lnTo>
                    <a:pt x="24" y="346"/>
                  </a:lnTo>
                  <a:lnTo>
                    <a:pt x="0" y="301"/>
                  </a:lnTo>
                  <a:lnTo>
                    <a:pt x="83" y="194"/>
                  </a:lnTo>
                  <a:lnTo>
                    <a:pt x="110" y="184"/>
                  </a:lnTo>
                  <a:lnTo>
                    <a:pt x="110" y="184"/>
                  </a:lnTo>
                  <a:lnTo>
                    <a:pt x="106" y="176"/>
                  </a:lnTo>
                  <a:lnTo>
                    <a:pt x="98" y="160"/>
                  </a:lnTo>
                  <a:lnTo>
                    <a:pt x="91" y="143"/>
                  </a:lnTo>
                  <a:lnTo>
                    <a:pt x="88" y="136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2" y="125"/>
                  </a:lnTo>
                  <a:lnTo>
                    <a:pt x="96" y="118"/>
                  </a:lnTo>
                  <a:lnTo>
                    <a:pt x="110" y="100"/>
                  </a:lnTo>
                  <a:lnTo>
                    <a:pt x="129" y="77"/>
                  </a:lnTo>
                  <a:lnTo>
                    <a:pt x="185" y="116"/>
                  </a:lnTo>
                  <a:lnTo>
                    <a:pt x="212" y="72"/>
                  </a:lnTo>
                  <a:lnTo>
                    <a:pt x="159" y="47"/>
                  </a:lnTo>
                  <a:lnTo>
                    <a:pt x="164" y="0"/>
                  </a:lnTo>
                  <a:lnTo>
                    <a:pt x="214" y="30"/>
                  </a:lnTo>
                  <a:lnTo>
                    <a:pt x="237" y="10"/>
                  </a:lnTo>
                  <a:lnTo>
                    <a:pt x="239" y="8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74" y="75"/>
                  </a:lnTo>
                  <a:lnTo>
                    <a:pt x="283" y="86"/>
                  </a:lnTo>
                  <a:lnTo>
                    <a:pt x="293" y="96"/>
                  </a:lnTo>
                  <a:lnTo>
                    <a:pt x="302" y="102"/>
                  </a:lnTo>
                  <a:lnTo>
                    <a:pt x="302" y="102"/>
                  </a:lnTo>
                  <a:lnTo>
                    <a:pt x="335" y="123"/>
                  </a:lnTo>
                  <a:lnTo>
                    <a:pt x="349" y="133"/>
                  </a:lnTo>
                  <a:lnTo>
                    <a:pt x="361" y="143"/>
                  </a:lnTo>
                  <a:lnTo>
                    <a:pt x="371" y="153"/>
                  </a:lnTo>
                  <a:lnTo>
                    <a:pt x="379" y="163"/>
                  </a:lnTo>
                  <a:lnTo>
                    <a:pt x="383" y="168"/>
                  </a:lnTo>
                  <a:lnTo>
                    <a:pt x="384" y="174"/>
                  </a:lnTo>
                  <a:lnTo>
                    <a:pt x="386" y="179"/>
                  </a:lnTo>
                  <a:lnTo>
                    <a:pt x="386" y="186"/>
                  </a:lnTo>
                  <a:lnTo>
                    <a:pt x="386" y="186"/>
                  </a:lnTo>
                  <a:lnTo>
                    <a:pt x="387" y="192"/>
                  </a:lnTo>
                  <a:lnTo>
                    <a:pt x="390" y="198"/>
                  </a:lnTo>
                  <a:lnTo>
                    <a:pt x="396" y="205"/>
                  </a:lnTo>
                  <a:lnTo>
                    <a:pt x="403" y="211"/>
                  </a:lnTo>
                  <a:lnTo>
                    <a:pt x="412" y="216"/>
                  </a:lnTo>
                  <a:lnTo>
                    <a:pt x="422" y="223"/>
                  </a:lnTo>
                  <a:lnTo>
                    <a:pt x="444" y="234"/>
                  </a:lnTo>
                  <a:lnTo>
                    <a:pt x="469" y="244"/>
                  </a:lnTo>
                  <a:lnTo>
                    <a:pt x="494" y="254"/>
                  </a:lnTo>
                  <a:lnTo>
                    <a:pt x="539" y="268"/>
                  </a:lnTo>
                  <a:lnTo>
                    <a:pt x="539" y="268"/>
                  </a:lnTo>
                  <a:lnTo>
                    <a:pt x="546" y="273"/>
                  </a:lnTo>
                  <a:lnTo>
                    <a:pt x="552" y="279"/>
                  </a:lnTo>
                  <a:lnTo>
                    <a:pt x="558" y="284"/>
                  </a:lnTo>
                  <a:lnTo>
                    <a:pt x="561" y="292"/>
                  </a:lnTo>
                  <a:lnTo>
                    <a:pt x="563" y="300"/>
                  </a:lnTo>
                  <a:lnTo>
                    <a:pt x="564" y="309"/>
                  </a:lnTo>
                  <a:lnTo>
                    <a:pt x="564" y="316"/>
                  </a:lnTo>
                  <a:lnTo>
                    <a:pt x="563" y="325"/>
                  </a:lnTo>
                  <a:lnTo>
                    <a:pt x="561" y="333"/>
                  </a:lnTo>
                  <a:lnTo>
                    <a:pt x="559" y="342"/>
                  </a:lnTo>
                  <a:lnTo>
                    <a:pt x="556" y="349"/>
                  </a:lnTo>
                  <a:lnTo>
                    <a:pt x="553" y="355"/>
                  </a:lnTo>
                  <a:lnTo>
                    <a:pt x="550" y="360"/>
                  </a:lnTo>
                  <a:lnTo>
                    <a:pt x="545" y="364"/>
                  </a:lnTo>
                  <a:lnTo>
                    <a:pt x="542" y="367"/>
                  </a:lnTo>
                  <a:lnTo>
                    <a:pt x="539" y="367"/>
                  </a:lnTo>
                  <a:lnTo>
                    <a:pt x="539" y="367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6" name="Freeform 325">
              <a:extLst>
                <a:ext uri="{FF2B5EF4-FFF2-40B4-BE49-F238E27FC236}">
                  <a16:creationId xmlns:a16="http://schemas.microsoft.com/office/drawing/2014/main" id="{208F6F0D-2B01-41D3-AA78-2C62DDCD3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6178550"/>
              <a:ext cx="227013" cy="136525"/>
            </a:xfrm>
            <a:custGeom>
              <a:avLst/>
              <a:gdLst>
                <a:gd name="T0" fmla="*/ 701 w 714"/>
                <a:gd name="T1" fmla="*/ 30 h 432"/>
                <a:gd name="T2" fmla="*/ 657 w 714"/>
                <a:gd name="T3" fmla="*/ 43 h 432"/>
                <a:gd name="T4" fmla="*/ 660 w 714"/>
                <a:gd name="T5" fmla="*/ 70 h 432"/>
                <a:gd name="T6" fmla="*/ 611 w 714"/>
                <a:gd name="T7" fmla="*/ 103 h 432"/>
                <a:gd name="T8" fmla="*/ 578 w 714"/>
                <a:gd name="T9" fmla="*/ 123 h 432"/>
                <a:gd name="T10" fmla="*/ 545 w 714"/>
                <a:gd name="T11" fmla="*/ 163 h 432"/>
                <a:gd name="T12" fmla="*/ 499 w 714"/>
                <a:gd name="T13" fmla="*/ 201 h 432"/>
                <a:gd name="T14" fmla="*/ 500 w 714"/>
                <a:gd name="T15" fmla="*/ 205 h 432"/>
                <a:gd name="T16" fmla="*/ 509 w 714"/>
                <a:gd name="T17" fmla="*/ 234 h 432"/>
                <a:gd name="T18" fmla="*/ 519 w 714"/>
                <a:gd name="T19" fmla="*/ 246 h 432"/>
                <a:gd name="T20" fmla="*/ 539 w 714"/>
                <a:gd name="T21" fmla="*/ 270 h 432"/>
                <a:gd name="T22" fmla="*/ 546 w 714"/>
                <a:gd name="T23" fmla="*/ 300 h 432"/>
                <a:gd name="T24" fmla="*/ 523 w 714"/>
                <a:gd name="T25" fmla="*/ 304 h 432"/>
                <a:gd name="T26" fmla="*/ 516 w 714"/>
                <a:gd name="T27" fmla="*/ 284 h 432"/>
                <a:gd name="T28" fmla="*/ 489 w 714"/>
                <a:gd name="T29" fmla="*/ 284 h 432"/>
                <a:gd name="T30" fmla="*/ 467 w 714"/>
                <a:gd name="T31" fmla="*/ 290 h 432"/>
                <a:gd name="T32" fmla="*/ 447 w 714"/>
                <a:gd name="T33" fmla="*/ 310 h 432"/>
                <a:gd name="T34" fmla="*/ 413 w 714"/>
                <a:gd name="T35" fmla="*/ 347 h 432"/>
                <a:gd name="T36" fmla="*/ 347 w 714"/>
                <a:gd name="T37" fmla="*/ 385 h 432"/>
                <a:gd name="T38" fmla="*/ 284 w 714"/>
                <a:gd name="T39" fmla="*/ 392 h 432"/>
                <a:gd name="T40" fmla="*/ 234 w 714"/>
                <a:gd name="T41" fmla="*/ 386 h 432"/>
                <a:gd name="T42" fmla="*/ 207 w 714"/>
                <a:gd name="T43" fmla="*/ 410 h 432"/>
                <a:gd name="T44" fmla="*/ 214 w 714"/>
                <a:gd name="T45" fmla="*/ 432 h 432"/>
                <a:gd name="T46" fmla="*/ 190 w 714"/>
                <a:gd name="T47" fmla="*/ 426 h 432"/>
                <a:gd name="T48" fmla="*/ 143 w 714"/>
                <a:gd name="T49" fmla="*/ 416 h 432"/>
                <a:gd name="T50" fmla="*/ 64 w 714"/>
                <a:gd name="T51" fmla="*/ 411 h 432"/>
                <a:gd name="T52" fmla="*/ 50 w 714"/>
                <a:gd name="T53" fmla="*/ 384 h 432"/>
                <a:gd name="T54" fmla="*/ 40 w 714"/>
                <a:gd name="T55" fmla="*/ 354 h 432"/>
                <a:gd name="T56" fmla="*/ 10 w 714"/>
                <a:gd name="T57" fmla="*/ 328 h 432"/>
                <a:gd name="T58" fmla="*/ 6 w 714"/>
                <a:gd name="T59" fmla="*/ 295 h 432"/>
                <a:gd name="T60" fmla="*/ 0 w 714"/>
                <a:gd name="T61" fmla="*/ 268 h 432"/>
                <a:gd name="T62" fmla="*/ 36 w 714"/>
                <a:gd name="T63" fmla="*/ 275 h 432"/>
                <a:gd name="T64" fmla="*/ 57 w 714"/>
                <a:gd name="T65" fmla="*/ 285 h 432"/>
                <a:gd name="T66" fmla="*/ 89 w 714"/>
                <a:gd name="T67" fmla="*/ 231 h 432"/>
                <a:gd name="T68" fmla="*/ 113 w 714"/>
                <a:gd name="T69" fmla="*/ 221 h 432"/>
                <a:gd name="T70" fmla="*/ 142 w 714"/>
                <a:gd name="T71" fmla="*/ 210 h 432"/>
                <a:gd name="T72" fmla="*/ 206 w 714"/>
                <a:gd name="T73" fmla="*/ 217 h 432"/>
                <a:gd name="T74" fmla="*/ 208 w 714"/>
                <a:gd name="T75" fmla="*/ 193 h 432"/>
                <a:gd name="T76" fmla="*/ 208 w 714"/>
                <a:gd name="T77" fmla="*/ 187 h 432"/>
                <a:gd name="T78" fmla="*/ 205 w 714"/>
                <a:gd name="T79" fmla="*/ 150 h 432"/>
                <a:gd name="T80" fmla="*/ 241 w 714"/>
                <a:gd name="T81" fmla="*/ 153 h 432"/>
                <a:gd name="T82" fmla="*/ 265 w 714"/>
                <a:gd name="T83" fmla="*/ 173 h 432"/>
                <a:gd name="T84" fmla="*/ 325 w 714"/>
                <a:gd name="T85" fmla="*/ 179 h 432"/>
                <a:gd name="T86" fmla="*/ 382 w 714"/>
                <a:gd name="T87" fmla="*/ 156 h 432"/>
                <a:gd name="T88" fmla="*/ 484 w 714"/>
                <a:gd name="T89" fmla="*/ 121 h 432"/>
                <a:gd name="T90" fmla="*/ 561 w 714"/>
                <a:gd name="T91" fmla="*/ 91 h 432"/>
                <a:gd name="T92" fmla="*/ 617 w 714"/>
                <a:gd name="T93" fmla="*/ 44 h 432"/>
                <a:gd name="T94" fmla="*/ 660 w 714"/>
                <a:gd name="T95" fmla="*/ 30 h 432"/>
                <a:gd name="T96" fmla="*/ 687 w 714"/>
                <a:gd name="T97" fmla="*/ 0 h 432"/>
                <a:gd name="T98" fmla="*/ 714 w 714"/>
                <a:gd name="T99" fmla="*/ 0 h 432"/>
                <a:gd name="T100" fmla="*/ 701 w 714"/>
                <a:gd name="T101" fmla="*/ 3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4" h="432">
                  <a:moveTo>
                    <a:pt x="701" y="30"/>
                  </a:moveTo>
                  <a:lnTo>
                    <a:pt x="657" y="43"/>
                  </a:lnTo>
                  <a:lnTo>
                    <a:pt x="660" y="70"/>
                  </a:lnTo>
                  <a:lnTo>
                    <a:pt x="611" y="103"/>
                  </a:lnTo>
                  <a:lnTo>
                    <a:pt x="578" y="123"/>
                  </a:lnTo>
                  <a:lnTo>
                    <a:pt x="545" y="163"/>
                  </a:lnTo>
                  <a:lnTo>
                    <a:pt x="499" y="201"/>
                  </a:lnTo>
                  <a:lnTo>
                    <a:pt x="500" y="205"/>
                  </a:lnTo>
                  <a:lnTo>
                    <a:pt x="509" y="234"/>
                  </a:lnTo>
                  <a:lnTo>
                    <a:pt x="519" y="246"/>
                  </a:lnTo>
                  <a:lnTo>
                    <a:pt x="539" y="270"/>
                  </a:lnTo>
                  <a:lnTo>
                    <a:pt x="546" y="300"/>
                  </a:lnTo>
                  <a:lnTo>
                    <a:pt x="523" y="304"/>
                  </a:lnTo>
                  <a:lnTo>
                    <a:pt x="516" y="284"/>
                  </a:lnTo>
                  <a:lnTo>
                    <a:pt x="489" y="284"/>
                  </a:lnTo>
                  <a:lnTo>
                    <a:pt x="467" y="290"/>
                  </a:lnTo>
                  <a:lnTo>
                    <a:pt x="447" y="310"/>
                  </a:lnTo>
                  <a:lnTo>
                    <a:pt x="413" y="347"/>
                  </a:lnTo>
                  <a:lnTo>
                    <a:pt x="347" y="385"/>
                  </a:lnTo>
                  <a:lnTo>
                    <a:pt x="284" y="392"/>
                  </a:lnTo>
                  <a:lnTo>
                    <a:pt x="234" y="386"/>
                  </a:lnTo>
                  <a:lnTo>
                    <a:pt x="207" y="410"/>
                  </a:lnTo>
                  <a:lnTo>
                    <a:pt x="214" y="432"/>
                  </a:lnTo>
                  <a:lnTo>
                    <a:pt x="190" y="426"/>
                  </a:lnTo>
                  <a:lnTo>
                    <a:pt x="143" y="416"/>
                  </a:lnTo>
                  <a:lnTo>
                    <a:pt x="64" y="411"/>
                  </a:lnTo>
                  <a:lnTo>
                    <a:pt x="50" y="384"/>
                  </a:lnTo>
                  <a:lnTo>
                    <a:pt x="40" y="354"/>
                  </a:lnTo>
                  <a:lnTo>
                    <a:pt x="10" y="328"/>
                  </a:lnTo>
                  <a:lnTo>
                    <a:pt x="6" y="295"/>
                  </a:lnTo>
                  <a:lnTo>
                    <a:pt x="0" y="268"/>
                  </a:lnTo>
                  <a:lnTo>
                    <a:pt x="36" y="275"/>
                  </a:lnTo>
                  <a:lnTo>
                    <a:pt x="57" y="285"/>
                  </a:lnTo>
                  <a:lnTo>
                    <a:pt x="89" y="231"/>
                  </a:lnTo>
                  <a:lnTo>
                    <a:pt x="113" y="221"/>
                  </a:lnTo>
                  <a:lnTo>
                    <a:pt x="142" y="210"/>
                  </a:lnTo>
                  <a:lnTo>
                    <a:pt x="206" y="217"/>
                  </a:lnTo>
                  <a:lnTo>
                    <a:pt x="208" y="193"/>
                  </a:lnTo>
                  <a:lnTo>
                    <a:pt x="208" y="187"/>
                  </a:lnTo>
                  <a:lnTo>
                    <a:pt x="205" y="150"/>
                  </a:lnTo>
                  <a:lnTo>
                    <a:pt x="241" y="153"/>
                  </a:lnTo>
                  <a:lnTo>
                    <a:pt x="265" y="173"/>
                  </a:lnTo>
                  <a:lnTo>
                    <a:pt x="325" y="179"/>
                  </a:lnTo>
                  <a:lnTo>
                    <a:pt x="382" y="156"/>
                  </a:lnTo>
                  <a:lnTo>
                    <a:pt x="484" y="121"/>
                  </a:lnTo>
                  <a:lnTo>
                    <a:pt x="561" y="91"/>
                  </a:lnTo>
                  <a:lnTo>
                    <a:pt x="617" y="44"/>
                  </a:lnTo>
                  <a:lnTo>
                    <a:pt x="660" y="30"/>
                  </a:lnTo>
                  <a:lnTo>
                    <a:pt x="687" y="0"/>
                  </a:lnTo>
                  <a:lnTo>
                    <a:pt x="714" y="0"/>
                  </a:lnTo>
                  <a:lnTo>
                    <a:pt x="701" y="3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3175">
              <a:solidFill>
                <a:sysClr val="window" lastClr="FFFFFF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6277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C52CE7-DEEA-456D-B392-122DF9AACF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17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C52CE7-DEEA-456D-B392-122DF9AACF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998D50C-7D30-4A08-A4B8-6A9E8BBAD11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GB" sz="32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E1881CB-A902-411A-BF02-1E8BA8651F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1259" y="1274564"/>
            <a:ext cx="7391200" cy="4616648"/>
          </a:xfrm>
        </p:spPr>
        <p:txBody>
          <a:bodyPr/>
          <a:lstStyle/>
          <a:p>
            <a:r>
              <a:rPr lang="en-GB" b="0" dirty="0"/>
              <a:t>Interconnectors play a crucial role in reducing carbon emissions by moving </a:t>
            </a:r>
            <a:r>
              <a:rPr lang="en-GB" b="0" dirty="0">
                <a:solidFill>
                  <a:srgbClr val="3CE12D"/>
                </a:solidFill>
              </a:rPr>
              <a:t>green energy </a:t>
            </a:r>
            <a:r>
              <a:rPr lang="en-GB" b="0" dirty="0"/>
              <a:t>across Europe.</a:t>
            </a:r>
          </a:p>
          <a:p>
            <a:endParaRPr lang="en-GB" b="0" dirty="0"/>
          </a:p>
          <a:p>
            <a:r>
              <a:rPr lang="en-GB" dirty="0"/>
              <a:t>We would like to understand 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/>
              <a:t>How much </a:t>
            </a:r>
            <a:r>
              <a:rPr lang="en-GB" sz="2000" dirty="0">
                <a:solidFill>
                  <a:srgbClr val="3CE12D"/>
                </a:solidFill>
              </a:rPr>
              <a:t>green energy </a:t>
            </a:r>
            <a:r>
              <a:rPr lang="en-GB" sz="2000" b="0" dirty="0"/>
              <a:t>will we import from Europe in the short term? </a:t>
            </a:r>
            <a:endParaRPr lang="en-GB" sz="2000" b="0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/>
              <a:t>What are </a:t>
            </a:r>
            <a:r>
              <a:rPr lang="en-GB" sz="2000" dirty="0">
                <a:solidFill>
                  <a:srgbClr val="3CE12D"/>
                </a:solidFill>
              </a:rPr>
              <a:t>carbon savings </a:t>
            </a:r>
            <a:r>
              <a:rPr lang="en-GB" sz="2000" b="0" dirty="0"/>
              <a:t>being made in GB in the short term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/>
              <a:t>How </a:t>
            </a:r>
            <a:r>
              <a:rPr lang="en-GB" sz="2000" dirty="0">
                <a:solidFill>
                  <a:srgbClr val="3CE12D"/>
                </a:solidFill>
                <a:ea typeface="+mn-lt"/>
                <a:cs typeface="+mn-lt"/>
              </a:rPr>
              <a:t>green</a:t>
            </a:r>
            <a:r>
              <a:rPr lang="en-GB" sz="2000" b="0" dirty="0">
                <a:solidFill>
                  <a:srgbClr val="3CE12D"/>
                </a:solidFill>
              </a:rPr>
              <a:t> </a:t>
            </a:r>
            <a:r>
              <a:rPr lang="en-GB" sz="2000" b="0" dirty="0"/>
              <a:t>will Europe be in 2025?</a:t>
            </a:r>
            <a:endParaRPr lang="en-GB" sz="2000" b="0" dirty="0">
              <a:cs typeface="Arial"/>
            </a:endParaRPr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EEE907-2FAE-4971-87D4-B653E3E37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Project Overview: </a:t>
            </a:r>
            <a:r>
              <a:rPr lang="en-GB" sz="2800" dirty="0">
                <a:solidFill>
                  <a:srgbClr val="3CE12D"/>
                </a:solidFill>
              </a:rPr>
              <a:t>A Greener Europe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7C7B5314-7C76-42BD-B962-B461E7CA8C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807" y="14712"/>
            <a:ext cx="3374934" cy="3083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1" name="Group 250">
            <a:extLst>
              <a:ext uri="{FF2B5EF4-FFF2-40B4-BE49-F238E27FC236}">
                <a16:creationId xmlns:a16="http://schemas.microsoft.com/office/drawing/2014/main" id="{FBC4BB68-36BC-45C6-BD50-03D0F0292237}"/>
              </a:ext>
            </a:extLst>
          </p:cNvPr>
          <p:cNvGrpSpPr/>
          <p:nvPr/>
        </p:nvGrpSpPr>
        <p:grpSpPr>
          <a:xfrm>
            <a:off x="7823200" y="3205163"/>
            <a:ext cx="4209009" cy="3385058"/>
            <a:chOff x="3745129" y="676016"/>
            <a:chExt cx="5303111" cy="4442531"/>
          </a:xfrm>
        </p:grpSpPr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86F97678-6CCA-4279-A53F-E7D725784F59}"/>
                </a:ext>
              </a:extLst>
            </p:cNvPr>
            <p:cNvGrpSpPr/>
            <p:nvPr/>
          </p:nvGrpSpPr>
          <p:grpSpPr>
            <a:xfrm>
              <a:off x="3745129" y="676016"/>
              <a:ext cx="5303111" cy="4442531"/>
              <a:chOff x="3745129" y="676016"/>
              <a:chExt cx="5303111" cy="4442531"/>
            </a:xfrm>
          </p:grpSpPr>
          <p:pic>
            <p:nvPicPr>
              <p:cNvPr id="256" name="Picture 255">
                <a:extLst>
                  <a:ext uri="{FF2B5EF4-FFF2-40B4-BE49-F238E27FC236}">
                    <a16:creationId xmlns:a16="http://schemas.microsoft.com/office/drawing/2014/main" id="{532ED159-2591-44B4-8769-C0DF8BF7615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5946" t="12356" r="23719"/>
              <a:stretch/>
            </p:blipFill>
            <p:spPr>
              <a:xfrm>
                <a:off x="3745129" y="676016"/>
                <a:ext cx="2280062" cy="2564745"/>
              </a:xfrm>
              <a:prstGeom prst="rect">
                <a:avLst/>
              </a:prstGeom>
            </p:spPr>
          </p:pic>
          <p:pic>
            <p:nvPicPr>
              <p:cNvPr id="257" name="Picture 256">
                <a:extLst>
                  <a:ext uri="{FF2B5EF4-FFF2-40B4-BE49-F238E27FC236}">
                    <a16:creationId xmlns:a16="http://schemas.microsoft.com/office/drawing/2014/main" id="{5645D09A-F7A9-4721-B37C-C41EB541297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r="29403" b="13078"/>
              <a:stretch/>
            </p:blipFill>
            <p:spPr>
              <a:xfrm>
                <a:off x="5287408" y="2156286"/>
                <a:ext cx="2646939" cy="2962261"/>
              </a:xfrm>
              <a:prstGeom prst="rect">
                <a:avLst/>
              </a:prstGeom>
            </p:spPr>
          </p:pic>
          <p:pic>
            <p:nvPicPr>
              <p:cNvPr id="258" name="Picture 257">
                <a:extLst>
                  <a:ext uri="{FF2B5EF4-FFF2-40B4-BE49-F238E27FC236}">
                    <a16:creationId xmlns:a16="http://schemas.microsoft.com/office/drawing/2014/main" id="{4BC742F7-081E-431B-9552-0D5019DCB5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78223" b="68275"/>
              <a:stretch/>
            </p:blipFill>
            <p:spPr>
              <a:xfrm>
                <a:off x="7934347" y="680556"/>
                <a:ext cx="1113893" cy="1475730"/>
              </a:xfrm>
              <a:prstGeom prst="rect">
                <a:avLst/>
              </a:prstGeom>
            </p:spPr>
          </p:pic>
        </p:grp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ED15BAA8-C19A-46FE-8C49-852B3FEAC2AD}"/>
                </a:ext>
              </a:extLst>
            </p:cNvPr>
            <p:cNvCxnSpPr/>
            <p:nvPr/>
          </p:nvCxnSpPr>
          <p:spPr bwMode="auto">
            <a:xfrm>
              <a:off x="5703044" y="2470068"/>
              <a:ext cx="1484416" cy="101682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7F9178"/>
              </a:solidFill>
              <a:prstDash val="solid"/>
              <a:round/>
              <a:headEnd type="triangl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423384F5-F6E3-47A3-B257-729F4B71D0F8}"/>
                </a:ext>
              </a:extLst>
            </p:cNvPr>
            <p:cNvCxnSpPr/>
            <p:nvPr/>
          </p:nvCxnSpPr>
          <p:spPr bwMode="auto">
            <a:xfrm>
              <a:off x="5703044" y="2807601"/>
              <a:ext cx="1175658" cy="20188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95D46E"/>
              </a:solidFill>
              <a:prstDash val="solid"/>
              <a:round/>
              <a:headEnd type="triangl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865C76B2-3E3E-43B8-812E-4DDE3E2B29D8}"/>
                </a:ext>
              </a:extLst>
            </p:cNvPr>
            <p:cNvCxnSpPr/>
            <p:nvPr/>
          </p:nvCxnSpPr>
          <p:spPr bwMode="auto">
            <a:xfrm>
              <a:off x="5073652" y="3009481"/>
              <a:ext cx="945602" cy="600158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5FAB18"/>
              </a:solidFill>
              <a:prstDash val="solid"/>
              <a:round/>
              <a:headEnd type="triangl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77790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9E81CD-050A-4A87-B231-A644AFAE46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921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9E81CD-050A-4A87-B231-A644AFAE4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3C2B4F-91B8-49E8-85A2-CF595E6B5DA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GB" sz="28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371AE7-C7B8-43DF-826B-33639610C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8256427" cy="574516"/>
          </a:xfrm>
        </p:spPr>
        <p:txBody>
          <a:bodyPr/>
          <a:lstStyle/>
          <a:p>
            <a:r>
              <a:rPr lang="en-GB" sz="2800" dirty="0"/>
              <a:t>Milestones and Timelines</a:t>
            </a: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638545D7-F494-46AA-BB33-05F57799EC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7119094"/>
              </p:ext>
            </p:extLst>
          </p:nvPr>
        </p:nvGraphicFramePr>
        <p:xfrm>
          <a:off x="143509" y="2150027"/>
          <a:ext cx="11925300" cy="67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7B88B547-50B9-4075-B81E-0E4D294789B4}"/>
              </a:ext>
            </a:extLst>
          </p:cNvPr>
          <p:cNvSpPr/>
          <p:nvPr/>
        </p:nvSpPr>
        <p:spPr bwMode="auto">
          <a:xfrm>
            <a:off x="438170" y="2895657"/>
            <a:ext cx="3556211" cy="1591599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2060"/>
                </a:solidFill>
                <a:cs typeface="Arial"/>
              </a:rPr>
              <a:t>Intro meeti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2060"/>
                </a:solidFill>
                <a:cs typeface="Arial"/>
              </a:rPr>
              <a:t>EU market deep-dive sess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2060"/>
                </a:solidFill>
                <a:cs typeface="Arial"/>
              </a:rPr>
              <a:t>Finalising data &amp; objectiv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2060"/>
                </a:solidFill>
                <a:cs typeface="Arial"/>
              </a:rPr>
              <a:t>AOB to support background knowledg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2060"/>
              </a:solidFill>
              <a:cs typeface="Arial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2060"/>
              </a:solidFill>
              <a:cs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8811C4-4715-4724-BB5E-3350E0E6AF98}"/>
              </a:ext>
            </a:extLst>
          </p:cNvPr>
          <p:cNvSpPr/>
          <p:nvPr/>
        </p:nvSpPr>
        <p:spPr bwMode="auto">
          <a:xfrm>
            <a:off x="4155041" y="2950851"/>
            <a:ext cx="3720409" cy="1536405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marL="228594" indent="-228594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467" dirty="0">
                <a:cs typeface="Arial"/>
              </a:rPr>
              <a:t>Students ‘own time’ to lead on project delivery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endParaRPr lang="en-GB" sz="1467" dirty="0">
              <a:cs typeface="Arial"/>
            </a:endParaRPr>
          </a:p>
          <a:p>
            <a:pPr marL="228594" indent="-228594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467" dirty="0">
                <a:cs typeface="Arial"/>
              </a:rPr>
              <a:t>We will be available to answer any queries/clear any doub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8066627-C543-4D0D-BD37-BA51C3407802}"/>
              </a:ext>
            </a:extLst>
          </p:cNvPr>
          <p:cNvSpPr/>
          <p:nvPr/>
        </p:nvSpPr>
        <p:spPr bwMode="auto">
          <a:xfrm>
            <a:off x="8036110" y="2940534"/>
            <a:ext cx="3733317" cy="1546722"/>
          </a:xfrm>
          <a:prstGeom prst="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2" tIns="60957" rIns="121912" bIns="60957" numCol="1" rtlCol="0" anchor="t" anchorCtr="0" compatLnSpc="1">
            <a:prstTxWarp prst="textNoShape">
              <a:avLst/>
            </a:prstTxWarp>
          </a:bodyPr>
          <a:lstStyle/>
          <a:p>
            <a:pPr marL="228594" indent="-228594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400" dirty="0"/>
              <a:t>Delivery of data-driven model to be used by the Market Fundamentals team</a:t>
            </a:r>
          </a:p>
          <a:p>
            <a:pPr marL="228594" indent="-228594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28594" indent="-228594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cs typeface="Arial"/>
              </a:rPr>
              <a:t>Final presentation to be delivered to the Market Fundamentals team</a:t>
            </a:r>
          </a:p>
        </p:txBody>
      </p:sp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309B7FB8-C169-47FD-A6C6-082E67B30D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7630424"/>
              </p:ext>
            </p:extLst>
          </p:nvPr>
        </p:nvGraphicFramePr>
        <p:xfrm>
          <a:off x="379752" y="4614981"/>
          <a:ext cx="3740730" cy="377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75ABED9B-AA21-4568-B810-6BBC10EFF64F}"/>
              </a:ext>
            </a:extLst>
          </p:cNvPr>
          <p:cNvGrpSpPr/>
          <p:nvPr/>
        </p:nvGrpSpPr>
        <p:grpSpPr>
          <a:xfrm>
            <a:off x="4155041" y="4604664"/>
            <a:ext cx="7657208" cy="388229"/>
            <a:chOff x="0" y="0"/>
            <a:chExt cx="5383325" cy="266318"/>
          </a:xfrm>
        </p:grpSpPr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25E2F359-537D-4948-A7DB-9FFA07512EB5}"/>
                </a:ext>
              </a:extLst>
            </p:cNvPr>
            <p:cNvSpPr/>
            <p:nvPr/>
          </p:nvSpPr>
          <p:spPr>
            <a:xfrm>
              <a:off x="0" y="0"/>
              <a:ext cx="5383325" cy="266318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Arrow: Chevron 4">
              <a:extLst>
                <a:ext uri="{FF2B5EF4-FFF2-40B4-BE49-F238E27FC236}">
                  <a16:creationId xmlns:a16="http://schemas.microsoft.com/office/drawing/2014/main" id="{0A03B759-DAA8-4DBA-9DF9-D0BC42CF4E84}"/>
                </a:ext>
              </a:extLst>
            </p:cNvPr>
            <p:cNvSpPr txBox="1"/>
            <p:nvPr/>
          </p:nvSpPr>
          <p:spPr>
            <a:xfrm>
              <a:off x="133159" y="0"/>
              <a:ext cx="5117007" cy="2663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200" b="1" kern="1200" dirty="0"/>
                <a:t>May-June 20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674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D207E8C-A9EF-4E7D-AFA6-65F0EBD99E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060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D207E8C-A9EF-4E7D-AFA6-65F0EBD99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696F45-EC50-47EE-B537-FD61D883BF1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GB" sz="32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E7807D-B589-486A-8460-E012ADD16C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832170"/>
            <a:ext cx="10151652" cy="3365024"/>
          </a:xfr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GB" dirty="0">
                <a:solidFill>
                  <a:schemeClr val="accent2"/>
                </a:solidFill>
              </a:rPr>
              <a:t>Model &amp; project specifications :</a:t>
            </a:r>
            <a:r>
              <a:rPr lang="en-GB" sz="1400" b="0" dirty="0"/>
              <a:t> </a:t>
            </a:r>
            <a:r>
              <a:rPr lang="en-GB" sz="1800" b="0" dirty="0"/>
              <a:t>Refer to project proposal</a:t>
            </a:r>
            <a:endParaRPr lang="en-GB" sz="1800" b="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GB" dirty="0">
                <a:solidFill>
                  <a:schemeClr val="accent2"/>
                </a:solidFill>
              </a:rPr>
              <a:t>Data</a:t>
            </a:r>
            <a:r>
              <a:rPr lang="en-GB" b="0" dirty="0">
                <a:solidFill>
                  <a:schemeClr val="accent2"/>
                </a:solidFill>
              </a:rPr>
              <a:t>:</a:t>
            </a:r>
            <a:r>
              <a:rPr lang="en-GB" sz="1800" b="0" dirty="0">
                <a:solidFill>
                  <a:schemeClr val="accent2"/>
                </a:solidFill>
              </a:rPr>
              <a:t> </a:t>
            </a:r>
            <a:r>
              <a:rPr lang="en-GB" sz="1800" b="0" dirty="0"/>
              <a:t>Look at ENTSO-E,ELEXON and NORDPOOL to learn more about EU energy data</a:t>
            </a:r>
            <a:endParaRPr lang="en-GB" sz="1800" b="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GB" dirty="0">
                <a:solidFill>
                  <a:schemeClr val="accent2"/>
                </a:solidFill>
              </a:rPr>
              <a:t>Market Knowledge:</a:t>
            </a:r>
            <a:r>
              <a:rPr lang="en-GB" b="0" dirty="0"/>
              <a:t> </a:t>
            </a:r>
            <a:r>
              <a:rPr lang="en-GB" sz="1800" b="0" dirty="0"/>
              <a:t>Knowledge sessions to be held by the Market Fundamentals team</a:t>
            </a:r>
            <a:endParaRPr lang="en-GB" sz="1800" b="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dirty="0">
                <a:solidFill>
                  <a:schemeClr val="accent2"/>
                </a:solidFill>
              </a:rPr>
              <a:t>Further readings:</a:t>
            </a:r>
            <a:r>
              <a:rPr lang="en-GB" dirty="0"/>
              <a:t> </a:t>
            </a:r>
            <a:r>
              <a:rPr lang="en-GB" sz="1800" b="0" dirty="0"/>
              <a:t>Europa, IEA, World Bank, ENTSO-E TYNDP reports to understand more about EU power policies &amp; targets</a:t>
            </a:r>
            <a:endParaRPr lang="en-GB" sz="1800" b="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GB" sz="1400" b="0" dirty="0">
              <a:cs typeface="Arial"/>
            </a:endParaRPr>
          </a:p>
          <a:p>
            <a:endParaRPr lang="en-GB" dirty="0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BC3970-9A28-414A-8B7B-D2BAC833F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vailable resources</a:t>
            </a:r>
          </a:p>
        </p:txBody>
      </p:sp>
    </p:spTree>
    <p:extLst>
      <p:ext uri="{BB962C8B-B14F-4D97-AF65-F5344CB8AC3E}">
        <p14:creationId xmlns:p14="http://schemas.microsoft.com/office/powerpoint/2010/main" val="20863142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603993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1E&quot; g=&quot;88&quot; b=&quot;E5&quot;/&gt;&lt;/elem&gt;&lt;elem m_fUsage=&quot;1.24659000000000008690E+00&quot;&gt;&lt;m_msothmcolidx val=&quot;0&quot;/&gt;&lt;m_rgb r=&quot;5F&quot; g=&quot;AB&quot; b=&quot;18&quot;/&gt;&lt;/elem&gt;&lt;elem m_fUsage=&quot;7.29000000000000092371E-01&quot;&gt;&lt;m_msothmcolidx val=&quot;0&quot;/&gt;&lt;m_rgb r=&quot;FF&quot; g=&quot;C1&quot; b=&quot;0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CjhvWGJfpOUpAAVzkG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Zh2wEk0FJBPWqvf2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mLZh2wEk0FJBPWqvf2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Nt3M.SrXBqoKwvMee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W9JrdtdOTQfCeWpIX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dmkqvoRWZybuPRO3gH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2OdIY2s3B__zmX1fXC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TOxNx2mJS08IlJieE3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QksirLZ5B_vs.gAHjv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13UZjk4zRFY4.3lSrR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LI9sKhvyE2JP0_ixJg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13UZjk4zRFY4.3lSrR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YhLpAQEW74jX1ThOUSzA"/>
</p:tagLst>
</file>

<file path=ppt/theme/theme1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2.xml><?xml version="1.0" encoding="utf-8"?>
<a:theme xmlns:a="http://schemas.openxmlformats.org/drawingml/2006/main" name="1_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3.xml><?xml version="1.0" encoding="utf-8"?>
<a:theme xmlns:a="http://schemas.openxmlformats.org/drawingml/2006/main" name="UK Market Fundamentals 2020_21 19121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K Market Fundamentals 2020_21 191219" id="{381E78AC-08B8-4A4A-AECF-26D2C9D61627}" vid="{11209647-53EE-4C5A-9791-8D4DD9CEFDC5}"/>
    </a:ext>
  </a:extLst>
</a:theme>
</file>

<file path=ppt/theme/theme4.xml><?xml version="1.0" encoding="utf-8"?>
<a:theme xmlns:a="http://schemas.openxmlformats.org/drawingml/2006/main" name="1_UK Market Fundamentals 2020_21 19121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K Market Fundamentals 2020_21 191219" id="{381E78AC-08B8-4A4A-AECF-26D2C9D61627}" vid="{11209647-53EE-4C5A-9791-8D4DD9CEFDC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3F591F60095E4E8F3535C9DB6FF438" ma:contentTypeVersion="11" ma:contentTypeDescription="Create a new document." ma:contentTypeScope="" ma:versionID="f341c9d2bc586148afa0be240a82c8ec">
  <xsd:schema xmlns:xsd="http://www.w3.org/2001/XMLSchema" xmlns:xs="http://www.w3.org/2001/XMLSchema" xmlns:p="http://schemas.microsoft.com/office/2006/metadata/properties" xmlns:ns2="3f3372dd-6bff-403a-af99-2af7db1ffb3b" xmlns:ns3="5ee0118f-eb8b-4eae-9338-71acf2a082cc" targetNamespace="http://schemas.microsoft.com/office/2006/metadata/properties" ma:root="true" ma:fieldsID="91491b3ca159136bf8fac7eded5f1665" ns2:_="" ns3:_="">
    <xsd:import namespace="3f3372dd-6bff-403a-af99-2af7db1ffb3b"/>
    <xsd:import namespace="5ee0118f-eb8b-4eae-9338-71acf2a08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372dd-6bff-403a-af99-2af7db1ffb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0118f-eb8b-4eae-9338-71acf2a082c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ee0118f-eb8b-4eae-9338-71acf2a082cc">
      <UserInfo>
        <DisplayName>Rodrigues, Tiago</DisplayName>
        <AccountId>23</AccountId>
        <AccountType/>
      </UserInfo>
      <UserInfo>
        <DisplayName>Panagiotakopoulou, Peny</DisplayName>
        <AccountId>18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774F5E9-188A-42D9-9865-426B66D428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3372dd-6bff-403a-af99-2af7db1ffb3b"/>
    <ds:schemaRef ds:uri="5ee0118f-eb8b-4eae-9338-71acf2a082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A0AE25-3CA9-4728-966C-88405CFCFA98}">
  <ds:schemaRefs>
    <ds:schemaRef ds:uri="http://schemas.microsoft.com/office/2006/documentManagement/types"/>
    <ds:schemaRef ds:uri="http://purl.org/dc/dcmitype/"/>
    <ds:schemaRef ds:uri="9de3c895-63fc-4e48-bda6-f18343a019ba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203eed53-4683-4587-ae82-8bb6c2a3326e"/>
    <ds:schemaRef ds:uri="http://www.w3.org/XML/1998/namespace"/>
    <ds:schemaRef ds:uri="5ee0118f-eb8b-4eae-9338-71acf2a082cc"/>
  </ds:schemaRefs>
</ds:datastoreItem>
</file>

<file path=customXml/itemProps3.xml><?xml version="1.0" encoding="utf-8"?>
<ds:datastoreItem xmlns:ds="http://schemas.openxmlformats.org/officeDocument/2006/customXml" ds:itemID="{87CE7342-AAB3-4E4C-9324-58FB21C793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13</TotalTime>
  <Words>205</Words>
  <Application>Microsoft Office PowerPoint</Application>
  <PresentationFormat>Widescreen</PresentationFormat>
  <Paragraphs>55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NG_PPT_16x9_Generic_template-blue</vt:lpstr>
      <vt:lpstr>1_NG_PPT_16x9_Generic_template-blue</vt:lpstr>
      <vt:lpstr>UK Market Fundamentals 2020_21 191219</vt:lpstr>
      <vt:lpstr>1_UK Market Fundamentals 2020_21 191219</vt:lpstr>
      <vt:lpstr>think-cell Slide</vt:lpstr>
      <vt:lpstr>National Grid -LondonLab (MAM)</vt:lpstr>
      <vt:lpstr>What do National Grid do?</vt:lpstr>
      <vt:lpstr>Market Fundamentals: an objective, cost-driven view of the market</vt:lpstr>
      <vt:lpstr>Project Overview: A Greener Europe</vt:lpstr>
      <vt:lpstr>Milestones and Timelines</vt:lpstr>
      <vt:lpstr>Available resour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tiple Purpose Interconnectors  Case study of interconnection solution with Belgium</dc:title>
  <dc:creator>Rodrigues, Tiago</dc:creator>
  <cp:lastModifiedBy>Ayyash, Aciele</cp:lastModifiedBy>
  <cp:revision>70</cp:revision>
  <dcterms:created xsi:type="dcterms:W3CDTF">2020-08-05T15:29:57Z</dcterms:created>
  <dcterms:modified xsi:type="dcterms:W3CDTF">2021-04-09T15:5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3F591F60095E4E8F3535C9DB6FF438</vt:lpwstr>
  </property>
  <property fmtid="{D5CDD505-2E9C-101B-9397-08002B2CF9AE}" pid="3" name="Order">
    <vt:r8>287600</vt:r8>
  </property>
</Properties>
</file>